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drawings/drawing3.xml" ContentType="application/vnd.openxmlformats-officedocument.drawingml.chartshape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2" r:id="rId2"/>
  </p:sldMasterIdLst>
  <p:notesMasterIdLst>
    <p:notesMasterId r:id="rId34"/>
  </p:notesMasterIdLst>
  <p:handoutMasterIdLst>
    <p:handoutMasterId r:id="rId35"/>
  </p:handoutMasterIdLst>
  <p:sldIdLst>
    <p:sldId id="257" r:id="rId3"/>
    <p:sldId id="388" r:id="rId4"/>
    <p:sldId id="389" r:id="rId5"/>
    <p:sldId id="360" r:id="rId6"/>
    <p:sldId id="397" r:id="rId7"/>
    <p:sldId id="351" r:id="rId8"/>
    <p:sldId id="379" r:id="rId9"/>
    <p:sldId id="364" r:id="rId10"/>
    <p:sldId id="365" r:id="rId11"/>
    <p:sldId id="371" r:id="rId12"/>
    <p:sldId id="387" r:id="rId13"/>
    <p:sldId id="301" r:id="rId14"/>
    <p:sldId id="305" r:id="rId15"/>
    <p:sldId id="384" r:id="rId16"/>
    <p:sldId id="366" r:id="rId17"/>
    <p:sldId id="380" r:id="rId18"/>
    <p:sldId id="308" r:id="rId19"/>
    <p:sldId id="344" r:id="rId20"/>
    <p:sldId id="355" r:id="rId21"/>
    <p:sldId id="382" r:id="rId22"/>
    <p:sldId id="394" r:id="rId23"/>
    <p:sldId id="395" r:id="rId24"/>
    <p:sldId id="396" r:id="rId25"/>
    <p:sldId id="398" r:id="rId26"/>
    <p:sldId id="376" r:id="rId27"/>
    <p:sldId id="390" r:id="rId28"/>
    <p:sldId id="391" r:id="rId29"/>
    <p:sldId id="392" r:id="rId30"/>
    <p:sldId id="393" r:id="rId31"/>
    <p:sldId id="377" r:id="rId32"/>
    <p:sldId id="290" r:id="rId33"/>
  </p:sldIdLst>
  <p:sldSz cx="9144000" cy="6858000" type="screen4x3"/>
  <p:notesSz cx="6808788" cy="9940925"/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CA81"/>
    <a:srgbClr val="BFD4E3"/>
    <a:srgbClr val="C5D1E5"/>
    <a:srgbClr val="B4C4DE"/>
    <a:srgbClr val="A5C2D7"/>
    <a:srgbClr val="D3F7DE"/>
    <a:srgbClr val="FF5050"/>
    <a:srgbClr val="C74F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Közepesen sötét stílus 2 – 4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0" autoAdjust="0"/>
    <p:restoredTop sz="88810" autoAdjust="0"/>
  </p:normalViewPr>
  <p:slideViewPr>
    <p:cSldViewPr>
      <p:cViewPr>
        <p:scale>
          <a:sx n="59" d="100"/>
          <a:sy n="59" d="100"/>
        </p:scale>
        <p:origin x="-1686" y="-21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70" d="100"/>
        <a:sy n="170" d="100"/>
      </p:scale>
      <p:origin x="0" y="1926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\\jumbo\csoportmunka\eletmod\Munkaer&#337;piaci%20folyamatok\2016.IV.nev\abrak-tablak_2016.%20IV.xls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D:\Kriszti\EA\Munkaf&#252;zet1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El&#337;ad&#225;s\Fogl_mn.xlsx" TargetMode="Externa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793182844531712E-2"/>
          <c:y val="0.10741914447552373"/>
          <c:w val="0.83214819501398396"/>
          <c:h val="0.66018020748007822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'1. ábra'!$A$43</c:f>
              <c:strCache>
                <c:ptCount val="1"/>
                <c:pt idx="0">
                  <c:v>15–74 éves foglalkoztatottak száma</c:v>
                </c:pt>
              </c:strCache>
            </c:strRef>
          </c:tx>
          <c:spPr>
            <a:solidFill>
              <a:srgbClr val="DDC0A6"/>
            </a:solidFill>
            <a:ln w="12700">
              <a:noFill/>
              <a:prstDash val="solid"/>
            </a:ln>
          </c:spPr>
          <c:invertIfNegative val="0"/>
          <c:cat>
            <c:multiLvlStrRef>
              <c:f>'1. ábra'!$A$44:$B$83</c:f>
              <c:multiLvlStrCache>
                <c:ptCount val="40"/>
                <c:lvl>
                  <c:pt idx="0">
                    <c:v>I.</c:v>
                  </c:pt>
                  <c:pt idx="1">
                    <c:v>II.</c:v>
                  </c:pt>
                  <c:pt idx="2">
                    <c:v>III.</c:v>
                  </c:pt>
                  <c:pt idx="3">
                    <c:v>IV.</c:v>
                  </c:pt>
                  <c:pt idx="4">
                    <c:v>I.</c:v>
                  </c:pt>
                  <c:pt idx="5">
                    <c:v>II.</c:v>
                  </c:pt>
                  <c:pt idx="6">
                    <c:v>III.</c:v>
                  </c:pt>
                  <c:pt idx="7">
                    <c:v>IV.</c:v>
                  </c:pt>
                  <c:pt idx="8">
                    <c:v>I.</c:v>
                  </c:pt>
                  <c:pt idx="9">
                    <c:v>II.</c:v>
                  </c:pt>
                  <c:pt idx="10">
                    <c:v>III.</c:v>
                  </c:pt>
                  <c:pt idx="11">
                    <c:v>IV.</c:v>
                  </c:pt>
                  <c:pt idx="12">
                    <c:v>I.</c:v>
                  </c:pt>
                  <c:pt idx="13">
                    <c:v>II.</c:v>
                  </c:pt>
                  <c:pt idx="14">
                    <c:v>III.</c:v>
                  </c:pt>
                  <c:pt idx="15">
                    <c:v>IV.</c:v>
                  </c:pt>
                  <c:pt idx="16">
                    <c:v>I.</c:v>
                  </c:pt>
                  <c:pt idx="17">
                    <c:v>II.</c:v>
                  </c:pt>
                  <c:pt idx="18">
                    <c:v>III.</c:v>
                  </c:pt>
                  <c:pt idx="19">
                    <c:v>IV.</c:v>
                  </c:pt>
                  <c:pt idx="20">
                    <c:v>I.</c:v>
                  </c:pt>
                  <c:pt idx="21">
                    <c:v>II.</c:v>
                  </c:pt>
                  <c:pt idx="22">
                    <c:v>III.</c:v>
                  </c:pt>
                  <c:pt idx="23">
                    <c:v>IV.</c:v>
                  </c:pt>
                  <c:pt idx="24">
                    <c:v>I.</c:v>
                  </c:pt>
                  <c:pt idx="25">
                    <c:v>II.</c:v>
                  </c:pt>
                  <c:pt idx="26">
                    <c:v>III.</c:v>
                  </c:pt>
                  <c:pt idx="27">
                    <c:v>IV.</c:v>
                  </c:pt>
                  <c:pt idx="28">
                    <c:v>I.</c:v>
                  </c:pt>
                  <c:pt idx="29">
                    <c:v>II.</c:v>
                  </c:pt>
                  <c:pt idx="30">
                    <c:v>III.</c:v>
                  </c:pt>
                  <c:pt idx="31">
                    <c:v>IV.</c:v>
                  </c:pt>
                  <c:pt idx="32">
                    <c:v>I.</c:v>
                  </c:pt>
                  <c:pt idx="33">
                    <c:v>II.</c:v>
                  </c:pt>
                  <c:pt idx="34">
                    <c:v>III.</c:v>
                  </c:pt>
                  <c:pt idx="35">
                    <c:v>IV.</c:v>
                  </c:pt>
                  <c:pt idx="36">
                    <c:v>I.</c:v>
                  </c:pt>
                  <c:pt idx="37">
                    <c:v>II.</c:v>
                  </c:pt>
                  <c:pt idx="38">
                    <c:v>III.</c:v>
                  </c:pt>
                  <c:pt idx="39">
                    <c:v>IV.</c:v>
                  </c:pt>
                </c:lvl>
                <c:lvl>
                  <c:pt idx="0">
                    <c:v>2007.</c:v>
                  </c:pt>
                  <c:pt idx="4">
                    <c:v>2008.</c:v>
                  </c:pt>
                  <c:pt idx="8">
                    <c:v>2009.</c:v>
                  </c:pt>
                  <c:pt idx="12">
                    <c:v>2010.</c:v>
                  </c:pt>
                  <c:pt idx="16">
                    <c:v>2011.</c:v>
                  </c:pt>
                  <c:pt idx="20">
                    <c:v>2012.</c:v>
                  </c:pt>
                  <c:pt idx="24">
                    <c:v>2013.</c:v>
                  </c:pt>
                  <c:pt idx="28">
                    <c:v>2014.</c:v>
                  </c:pt>
                  <c:pt idx="32">
                    <c:v>2015.</c:v>
                  </c:pt>
                  <c:pt idx="36">
                    <c:v>2016.</c:v>
                  </c:pt>
                </c:lvl>
              </c:multiLvlStrCache>
            </c:multiLvlStrRef>
          </c:cat>
          <c:val>
            <c:numRef>
              <c:f>'1. ábra'!$C$44:$C$83</c:f>
              <c:numCache>
                <c:formatCode>0.0</c:formatCode>
                <c:ptCount val="40"/>
                <c:pt idx="0">
                  <c:v>3890.8992499999999</c:v>
                </c:pt>
                <c:pt idx="1">
                  <c:v>3916.1053400000001</c:v>
                </c:pt>
                <c:pt idx="2">
                  <c:v>3922.5632300000002</c:v>
                </c:pt>
                <c:pt idx="3">
                  <c:v>3878.29097</c:v>
                </c:pt>
                <c:pt idx="4">
                  <c:v>3813.7915800000001</c:v>
                </c:pt>
                <c:pt idx="5">
                  <c:v>3842.6239599999999</c:v>
                </c:pt>
                <c:pt idx="6">
                  <c:v>3891.0599099999999</c:v>
                </c:pt>
                <c:pt idx="7">
                  <c:v>3845.7653799999998</c:v>
                </c:pt>
                <c:pt idx="8">
                  <c:v>3733.35194</c:v>
                </c:pt>
                <c:pt idx="9">
                  <c:v>3764.0084100000004</c:v>
                </c:pt>
                <c:pt idx="10">
                  <c:v>3748.5045499999997</c:v>
                </c:pt>
                <c:pt idx="11">
                  <c:v>3745.4405000000002</c:v>
                </c:pt>
                <c:pt idx="12">
                  <c:v>3678.7315800000001</c:v>
                </c:pt>
                <c:pt idx="13">
                  <c:v>3728.8679099999999</c:v>
                </c:pt>
                <c:pt idx="14">
                  <c:v>3771.1552700000002</c:v>
                </c:pt>
                <c:pt idx="15">
                  <c:v>3750.7796600000001</c:v>
                </c:pt>
                <c:pt idx="16">
                  <c:v>3685.3760000000002</c:v>
                </c:pt>
                <c:pt idx="17">
                  <c:v>3759.172</c:v>
                </c:pt>
                <c:pt idx="18">
                  <c:v>3798.5680000000002</c:v>
                </c:pt>
                <c:pt idx="19">
                  <c:v>3792.9580000000001</c:v>
                </c:pt>
                <c:pt idx="20">
                  <c:v>3735.2049999999999</c:v>
                </c:pt>
                <c:pt idx="21">
                  <c:v>3821.5720000000001</c:v>
                </c:pt>
                <c:pt idx="22">
                  <c:v>3887.346</c:v>
                </c:pt>
                <c:pt idx="23">
                  <c:v>3864.732</c:v>
                </c:pt>
                <c:pt idx="24">
                  <c:v>3772.4279999999999</c:v>
                </c:pt>
                <c:pt idx="25">
                  <c:v>3888.7359999999999</c:v>
                </c:pt>
                <c:pt idx="26">
                  <c:v>3940.3380000000002</c:v>
                </c:pt>
                <c:pt idx="27">
                  <c:v>3969.5410000000002</c:v>
                </c:pt>
                <c:pt idx="28">
                  <c:v>4037.846</c:v>
                </c:pt>
                <c:pt idx="29">
                  <c:v>4075.183</c:v>
                </c:pt>
                <c:pt idx="30">
                  <c:v>4148.6099999999997</c:v>
                </c:pt>
                <c:pt idx="31">
                  <c:v>4141.7163333333338</c:v>
                </c:pt>
                <c:pt idx="32">
                  <c:v>4117.1703333333298</c:v>
                </c:pt>
                <c:pt idx="33">
                  <c:v>4200.6689999999999</c:v>
                </c:pt>
                <c:pt idx="34">
                  <c:v>4264.8090000000002</c:v>
                </c:pt>
                <c:pt idx="35">
                  <c:v>4259.3376666666672</c:v>
                </c:pt>
                <c:pt idx="36">
                  <c:v>4262.1660000000002</c:v>
                </c:pt>
                <c:pt idx="37">
                  <c:v>4342.7160000000003</c:v>
                </c:pt>
                <c:pt idx="38">
                  <c:v>4390.67</c:v>
                </c:pt>
                <c:pt idx="39">
                  <c:v>4410.996999999999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83198720"/>
        <c:axId val="83200640"/>
      </c:barChart>
      <c:lineChart>
        <c:grouping val="standard"/>
        <c:varyColors val="0"/>
        <c:ser>
          <c:idx val="0"/>
          <c:order val="1"/>
          <c:tx>
            <c:strRef>
              <c:f>'1. ábra'!$D$43</c:f>
              <c:strCache>
                <c:ptCount val="1"/>
                <c:pt idx="0">
                  <c:v>15–64 évesek  foglalkoztatási rátája</c:v>
                </c:pt>
              </c:strCache>
            </c:strRef>
          </c:tx>
          <c:spPr>
            <a:ln w="47625">
              <a:solidFill>
                <a:srgbClr val="964B38"/>
              </a:solidFill>
              <a:prstDash val="solid"/>
            </a:ln>
          </c:spPr>
          <c:marker>
            <c:symbol val="diamond"/>
            <c:size val="6"/>
            <c:spPr>
              <a:solidFill>
                <a:srgbClr val="964B38"/>
              </a:solidFill>
              <a:ln>
                <a:noFill/>
                <a:prstDash val="solid"/>
              </a:ln>
            </c:spPr>
          </c:marker>
          <c:cat>
            <c:multiLvlStrRef>
              <c:f>'1. ábra'!$A$44:$B$83</c:f>
              <c:multiLvlStrCache>
                <c:ptCount val="40"/>
                <c:lvl>
                  <c:pt idx="0">
                    <c:v>I.</c:v>
                  </c:pt>
                  <c:pt idx="1">
                    <c:v>II.</c:v>
                  </c:pt>
                  <c:pt idx="2">
                    <c:v>III.</c:v>
                  </c:pt>
                  <c:pt idx="3">
                    <c:v>IV.</c:v>
                  </c:pt>
                  <c:pt idx="4">
                    <c:v>I.</c:v>
                  </c:pt>
                  <c:pt idx="5">
                    <c:v>II.</c:v>
                  </c:pt>
                  <c:pt idx="6">
                    <c:v>III.</c:v>
                  </c:pt>
                  <c:pt idx="7">
                    <c:v>IV.</c:v>
                  </c:pt>
                  <c:pt idx="8">
                    <c:v>I.</c:v>
                  </c:pt>
                  <c:pt idx="9">
                    <c:v>II.</c:v>
                  </c:pt>
                  <c:pt idx="10">
                    <c:v>III.</c:v>
                  </c:pt>
                  <c:pt idx="11">
                    <c:v>IV.</c:v>
                  </c:pt>
                  <c:pt idx="12">
                    <c:v>I.</c:v>
                  </c:pt>
                  <c:pt idx="13">
                    <c:v>II.</c:v>
                  </c:pt>
                  <c:pt idx="14">
                    <c:v>III.</c:v>
                  </c:pt>
                  <c:pt idx="15">
                    <c:v>IV.</c:v>
                  </c:pt>
                  <c:pt idx="16">
                    <c:v>I.</c:v>
                  </c:pt>
                  <c:pt idx="17">
                    <c:v>II.</c:v>
                  </c:pt>
                  <c:pt idx="18">
                    <c:v>III.</c:v>
                  </c:pt>
                  <c:pt idx="19">
                    <c:v>IV.</c:v>
                  </c:pt>
                  <c:pt idx="20">
                    <c:v>I.</c:v>
                  </c:pt>
                  <c:pt idx="21">
                    <c:v>II.</c:v>
                  </c:pt>
                  <c:pt idx="22">
                    <c:v>III.</c:v>
                  </c:pt>
                  <c:pt idx="23">
                    <c:v>IV.</c:v>
                  </c:pt>
                  <c:pt idx="24">
                    <c:v>I.</c:v>
                  </c:pt>
                  <c:pt idx="25">
                    <c:v>II.</c:v>
                  </c:pt>
                  <c:pt idx="26">
                    <c:v>III.</c:v>
                  </c:pt>
                  <c:pt idx="27">
                    <c:v>IV.</c:v>
                  </c:pt>
                  <c:pt idx="28">
                    <c:v>I.</c:v>
                  </c:pt>
                  <c:pt idx="29">
                    <c:v>II.</c:v>
                  </c:pt>
                  <c:pt idx="30">
                    <c:v>III.</c:v>
                  </c:pt>
                  <c:pt idx="31">
                    <c:v>IV.</c:v>
                  </c:pt>
                  <c:pt idx="32">
                    <c:v>I.</c:v>
                  </c:pt>
                  <c:pt idx="33">
                    <c:v>II.</c:v>
                  </c:pt>
                  <c:pt idx="34">
                    <c:v>III.</c:v>
                  </c:pt>
                  <c:pt idx="35">
                    <c:v>IV.</c:v>
                  </c:pt>
                  <c:pt idx="36">
                    <c:v>I.</c:v>
                  </c:pt>
                  <c:pt idx="37">
                    <c:v>II.</c:v>
                  </c:pt>
                  <c:pt idx="38">
                    <c:v>III.</c:v>
                  </c:pt>
                  <c:pt idx="39">
                    <c:v>IV.</c:v>
                  </c:pt>
                </c:lvl>
                <c:lvl>
                  <c:pt idx="0">
                    <c:v>2007.</c:v>
                  </c:pt>
                  <c:pt idx="4">
                    <c:v>2008.</c:v>
                  </c:pt>
                  <c:pt idx="8">
                    <c:v>2009.</c:v>
                  </c:pt>
                  <c:pt idx="12">
                    <c:v>2010.</c:v>
                  </c:pt>
                  <c:pt idx="16">
                    <c:v>2011.</c:v>
                  </c:pt>
                  <c:pt idx="20">
                    <c:v>2012.</c:v>
                  </c:pt>
                  <c:pt idx="24">
                    <c:v>2013.</c:v>
                  </c:pt>
                  <c:pt idx="28">
                    <c:v>2014.</c:v>
                  </c:pt>
                  <c:pt idx="32">
                    <c:v>2015.</c:v>
                  </c:pt>
                  <c:pt idx="36">
                    <c:v>2016.</c:v>
                  </c:pt>
                </c:lvl>
              </c:multiLvlStrCache>
            </c:multiLvlStrRef>
          </c:cat>
          <c:val>
            <c:numRef>
              <c:f>'1. ábra'!$D$44:$D$83</c:f>
              <c:numCache>
                <c:formatCode>0.0</c:formatCode>
                <c:ptCount val="40"/>
                <c:pt idx="0">
                  <c:v>56.817807274242583</c:v>
                </c:pt>
                <c:pt idx="1">
                  <c:v>57.221928888687323</c:v>
                </c:pt>
                <c:pt idx="2">
                  <c:v>57.37109705757247</c:v>
                </c:pt>
                <c:pt idx="3">
                  <c:v>56.736432924491922</c:v>
                </c:pt>
                <c:pt idx="4">
                  <c:v>55.865265073609294</c:v>
                </c:pt>
                <c:pt idx="5">
                  <c:v>56.271439957637149</c:v>
                </c:pt>
                <c:pt idx="6">
                  <c:v>56.984949684064787</c:v>
                </c:pt>
                <c:pt idx="7">
                  <c:v>56.409912633926787</c:v>
                </c:pt>
                <c:pt idx="8">
                  <c:v>54.804672211241744</c:v>
                </c:pt>
                <c:pt idx="9">
                  <c:v>55.253153615067731</c:v>
                </c:pt>
                <c:pt idx="10">
                  <c:v>55.0637302298246</c:v>
                </c:pt>
                <c:pt idx="11">
                  <c:v>55.041519177877731</c:v>
                </c:pt>
                <c:pt idx="12">
                  <c:v>54.101971362497828</c:v>
                </c:pt>
                <c:pt idx="13">
                  <c:v>54.882285800107368</c:v>
                </c:pt>
                <c:pt idx="14">
                  <c:v>55.531072082098156</c:v>
                </c:pt>
                <c:pt idx="15">
                  <c:v>55.279133075646335</c:v>
                </c:pt>
                <c:pt idx="16">
                  <c:v>54.326116732251172</c:v>
                </c:pt>
                <c:pt idx="17">
                  <c:v>55.437870036439506</c:v>
                </c:pt>
                <c:pt idx="18">
                  <c:v>56.010222791213906</c:v>
                </c:pt>
                <c:pt idx="19">
                  <c:v>55.957208168477493</c:v>
                </c:pt>
                <c:pt idx="20">
                  <c:v>55.155550388428807</c:v>
                </c:pt>
                <c:pt idx="21">
                  <c:v>56.51956351233499</c:v>
                </c:pt>
                <c:pt idx="22">
                  <c:v>57.611277104485524</c:v>
                </c:pt>
                <c:pt idx="23">
                  <c:v>57.350471008612956</c:v>
                </c:pt>
                <c:pt idx="24">
                  <c:v>56.116278829125591</c:v>
                </c:pt>
                <c:pt idx="25">
                  <c:v>57.947220722632551</c:v>
                </c:pt>
                <c:pt idx="26">
                  <c:v>58.851835412944375</c:v>
                </c:pt>
                <c:pt idx="27">
                  <c:v>59.388238127981928</c:v>
                </c:pt>
                <c:pt idx="28">
                  <c:v>60.625964810373404</c:v>
                </c:pt>
                <c:pt idx="29">
                  <c:v>61.323362710663723</c:v>
                </c:pt>
                <c:pt idx="30">
                  <c:v>62.571625742700341</c:v>
                </c:pt>
                <c:pt idx="31">
                  <c:v>62.609340674350044</c:v>
                </c:pt>
                <c:pt idx="32">
                  <c:v>62.40376164519089</c:v>
                </c:pt>
                <c:pt idx="33">
                  <c:v>63.76603400798021</c:v>
                </c:pt>
                <c:pt idx="34">
                  <c:v>64.786888692280101</c:v>
                </c:pt>
                <c:pt idx="35">
                  <c:v>64.825052139830518</c:v>
                </c:pt>
                <c:pt idx="36">
                  <c:v>65.052764709611253</c:v>
                </c:pt>
                <c:pt idx="37">
                  <c:v>66.416024245345568</c:v>
                </c:pt>
                <c:pt idx="38">
                  <c:v>67.117441108164087</c:v>
                </c:pt>
                <c:pt idx="39">
                  <c:v>67.51680519591462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3215104"/>
        <c:axId val="83216640"/>
      </c:lineChart>
      <c:catAx>
        <c:axId val="83198720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hu-HU"/>
          </a:p>
        </c:txPr>
        <c:crossAx val="83200640"/>
        <c:crossesAt val="3200"/>
        <c:auto val="0"/>
        <c:lblAlgn val="ctr"/>
        <c:lblOffset val="100"/>
        <c:tickLblSkip val="1"/>
        <c:tickMarkSkip val="1"/>
        <c:noMultiLvlLbl val="0"/>
      </c:catAx>
      <c:valAx>
        <c:axId val="83200640"/>
        <c:scaling>
          <c:orientation val="minMax"/>
          <c:max val="4500"/>
          <c:min val="3200"/>
        </c:scaling>
        <c:delete val="0"/>
        <c:axPos val="l"/>
        <c:title>
          <c:tx>
            <c:rich>
              <a:bodyPr rot="0" vert="horz"/>
              <a:lstStyle/>
              <a:p>
                <a:pPr algn="ctr">
                  <a:defRPr/>
                </a:pPr>
                <a:r>
                  <a:rPr lang="hu-HU" dirty="0"/>
                  <a:t>Ezer fő</a:t>
                </a:r>
              </a:p>
            </c:rich>
          </c:tx>
          <c:layout>
            <c:manualLayout>
              <c:xMode val="edge"/>
              <c:yMode val="edge"/>
              <c:x val="2.8065848246382346E-2"/>
              <c:y val="2.9897585712188857E-2"/>
            </c:manualLayout>
          </c:layout>
          <c:overlay val="0"/>
          <c:spPr>
            <a:noFill/>
            <a:ln w="25400">
              <a:noFill/>
            </a:ln>
          </c:spPr>
        </c:title>
        <c:numFmt formatCode="#,##0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hu-HU"/>
          </a:p>
        </c:txPr>
        <c:crossAx val="83198720"/>
        <c:crosses val="autoZero"/>
        <c:crossBetween val="between"/>
      </c:valAx>
      <c:catAx>
        <c:axId val="83215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3216640"/>
        <c:crosses val="autoZero"/>
        <c:auto val="0"/>
        <c:lblAlgn val="ctr"/>
        <c:lblOffset val="100"/>
        <c:noMultiLvlLbl val="0"/>
      </c:catAx>
      <c:valAx>
        <c:axId val="83216640"/>
        <c:scaling>
          <c:orientation val="minMax"/>
          <c:min val="48"/>
        </c:scaling>
        <c:delete val="0"/>
        <c:axPos val="r"/>
        <c:title>
          <c:tx>
            <c:rich>
              <a:bodyPr rot="0" vert="horz"/>
              <a:lstStyle/>
              <a:p>
                <a:pPr algn="ctr">
                  <a:defRPr/>
                </a:pPr>
                <a:r>
                  <a:rPr lang="hu-HU" dirty="0"/>
                  <a:t>Ráta, %</a:t>
                </a:r>
              </a:p>
            </c:rich>
          </c:tx>
          <c:layout>
            <c:manualLayout>
              <c:xMode val="edge"/>
              <c:yMode val="edge"/>
              <c:x val="0.8929286740260558"/>
              <c:y val="3.2586019952557041E-2"/>
            </c:manualLayout>
          </c:layout>
          <c:overlay val="0"/>
          <c:spPr>
            <a:noFill/>
            <a:ln w="25400">
              <a:noFill/>
            </a:ln>
          </c:spPr>
        </c:title>
        <c:numFmt formatCode="0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hu-HU"/>
          </a:p>
        </c:txPr>
        <c:crossAx val="83215104"/>
        <c:crosses val="max"/>
        <c:crossBetween val="between"/>
      </c:valAx>
      <c:spPr>
        <a:noFill/>
        <a:ln w="12700">
          <a:solidFill>
            <a:srgbClr val="808080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9.518368370470208E-2"/>
          <c:y val="0.90438189213119258"/>
          <c:w val="0.81044563970098649"/>
          <c:h val="8.7613422296046392E-2"/>
        </c:manualLayout>
      </c:layout>
      <c:overlay val="0"/>
      <c:spPr>
        <a:noFill/>
        <a:ln w="25400">
          <a:noFill/>
        </a:ln>
      </c:sp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400" b="0" i="0" u="none" strike="noStrike" baseline="0">
          <a:solidFill>
            <a:srgbClr val="000000"/>
          </a:solidFill>
          <a:latin typeface="+mj-lt"/>
          <a:ea typeface="Arial"/>
          <a:cs typeface="Arial"/>
        </a:defRPr>
      </a:pPr>
      <a:endParaRPr lang="hu-HU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156219108975012E-2"/>
          <c:y val="9.2896174863387984E-2"/>
          <c:w val="0.86282816920612193"/>
          <c:h val="0.7355965750182866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Mn szám ráta'!$C$15</c:f>
              <c:strCache>
                <c:ptCount val="1"/>
                <c:pt idx="0">
                  <c:v>Munkanélküliek szám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</c:dPt>
          <c:dPt>
            <c:idx val="27"/>
            <c:invertIfNegative val="0"/>
            <c:bubble3D val="0"/>
          </c:dPt>
          <c:cat>
            <c:multiLvlStrRef>
              <c:f>'Mn szám ráta'!$A$16:$B$43</c:f>
              <c:multiLvlStrCache>
                <c:ptCount val="28"/>
                <c:lvl>
                  <c:pt idx="0">
                    <c:v>I.</c:v>
                  </c:pt>
                  <c:pt idx="1">
                    <c:v>II.</c:v>
                  </c:pt>
                  <c:pt idx="2">
                    <c:v>III.</c:v>
                  </c:pt>
                  <c:pt idx="3">
                    <c:v>IV.</c:v>
                  </c:pt>
                  <c:pt idx="4">
                    <c:v>I.</c:v>
                  </c:pt>
                  <c:pt idx="5">
                    <c:v>II.</c:v>
                  </c:pt>
                  <c:pt idx="6">
                    <c:v>III.</c:v>
                  </c:pt>
                  <c:pt idx="7">
                    <c:v>IV.</c:v>
                  </c:pt>
                  <c:pt idx="8">
                    <c:v>I.</c:v>
                  </c:pt>
                  <c:pt idx="9">
                    <c:v>II.</c:v>
                  </c:pt>
                  <c:pt idx="10">
                    <c:v>III.</c:v>
                  </c:pt>
                  <c:pt idx="11">
                    <c:v>IV.</c:v>
                  </c:pt>
                  <c:pt idx="12">
                    <c:v>I.</c:v>
                  </c:pt>
                  <c:pt idx="13">
                    <c:v>II.</c:v>
                  </c:pt>
                  <c:pt idx="14">
                    <c:v>III.</c:v>
                  </c:pt>
                  <c:pt idx="15">
                    <c:v>IV.</c:v>
                  </c:pt>
                  <c:pt idx="16">
                    <c:v>I.</c:v>
                  </c:pt>
                  <c:pt idx="17">
                    <c:v>II.</c:v>
                  </c:pt>
                  <c:pt idx="18">
                    <c:v>III.</c:v>
                  </c:pt>
                  <c:pt idx="19">
                    <c:v>IV.</c:v>
                  </c:pt>
                  <c:pt idx="20">
                    <c:v>I.</c:v>
                  </c:pt>
                  <c:pt idx="21">
                    <c:v>II.</c:v>
                  </c:pt>
                  <c:pt idx="22">
                    <c:v>III.</c:v>
                  </c:pt>
                  <c:pt idx="23">
                    <c:v>IV.</c:v>
                  </c:pt>
                  <c:pt idx="24">
                    <c:v>I.</c:v>
                  </c:pt>
                  <c:pt idx="25">
                    <c:v>II.</c:v>
                  </c:pt>
                  <c:pt idx="26">
                    <c:v>III.</c:v>
                  </c:pt>
                  <c:pt idx="27">
                    <c:v>IV.</c:v>
                  </c:pt>
                </c:lvl>
                <c:lvl>
                  <c:pt idx="0">
                    <c:v>2010.</c:v>
                  </c:pt>
                  <c:pt idx="4">
                    <c:v>2011.</c:v>
                  </c:pt>
                  <c:pt idx="8">
                    <c:v>2012.</c:v>
                  </c:pt>
                  <c:pt idx="12">
                    <c:v>2013.</c:v>
                  </c:pt>
                  <c:pt idx="16">
                    <c:v>2014.</c:v>
                  </c:pt>
                  <c:pt idx="20">
                    <c:v>2015.</c:v>
                  </c:pt>
                  <c:pt idx="24">
                    <c:v>2016.</c:v>
                  </c:pt>
                </c:lvl>
              </c:multiLvlStrCache>
            </c:multiLvlStrRef>
          </c:cat>
          <c:val>
            <c:numRef>
              <c:f>'Mn szám ráta'!$C$16:$C$43</c:f>
              <c:numCache>
                <c:formatCode>#\ ##0.0</c:formatCode>
                <c:ptCount val="28"/>
                <c:pt idx="0">
                  <c:v>493.99432999999999</c:v>
                </c:pt>
                <c:pt idx="1">
                  <c:v>470.74309999999997</c:v>
                </c:pt>
                <c:pt idx="2">
                  <c:v>458.70544000000001</c:v>
                </c:pt>
                <c:pt idx="3">
                  <c:v>454.25221000000005</c:v>
                </c:pt>
                <c:pt idx="4">
                  <c:v>492.77312000000001</c:v>
                </c:pt>
                <c:pt idx="5">
                  <c:v>459.55601000000001</c:v>
                </c:pt>
                <c:pt idx="6">
                  <c:v>456.42755</c:v>
                </c:pt>
                <c:pt idx="7">
                  <c:v>455.15278999999998</c:v>
                </c:pt>
                <c:pt idx="8">
                  <c:v>506.52328</c:v>
                </c:pt>
                <c:pt idx="9">
                  <c:v>472.22721000000001</c:v>
                </c:pt>
                <c:pt idx="10">
                  <c:v>454.48909000000003</c:v>
                </c:pt>
                <c:pt idx="11">
                  <c:v>459.45565999999997</c:v>
                </c:pt>
                <c:pt idx="12">
                  <c:v>495.38264000000004</c:v>
                </c:pt>
                <c:pt idx="13">
                  <c:v>440.65566999999999</c:v>
                </c:pt>
                <c:pt idx="14">
                  <c:v>429.56114000000002</c:v>
                </c:pt>
                <c:pt idx="15">
                  <c:v>398.51890999999995</c:v>
                </c:pt>
                <c:pt idx="16">
                  <c:v>364.10134000000005</c:v>
                </c:pt>
                <c:pt idx="17">
                  <c:v>359.29246999999998</c:v>
                </c:pt>
                <c:pt idx="18">
                  <c:v>331.45540999999997</c:v>
                </c:pt>
                <c:pt idx="19">
                  <c:v>318.45</c:v>
                </c:pt>
                <c:pt idx="20">
                  <c:v>347.59300000000002</c:v>
                </c:pt>
                <c:pt idx="21">
                  <c:v>310.38733333333334</c:v>
                </c:pt>
                <c:pt idx="22">
                  <c:v>292.67599999999999</c:v>
                </c:pt>
                <c:pt idx="23">
                  <c:v>280.72800000000001</c:v>
                </c:pt>
                <c:pt idx="24">
                  <c:v>272.77866666666665</c:v>
                </c:pt>
                <c:pt idx="25">
                  <c:v>234.08600000000001</c:v>
                </c:pt>
                <c:pt idx="26">
                  <c:v>226.48166666666668</c:v>
                </c:pt>
                <c:pt idx="27">
                  <c:v>204.9703333333333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overlap val="-27"/>
        <c:axId val="81832576"/>
        <c:axId val="81834752"/>
      </c:barChart>
      <c:lineChart>
        <c:grouping val="standard"/>
        <c:varyColors val="0"/>
        <c:ser>
          <c:idx val="1"/>
          <c:order val="1"/>
          <c:tx>
            <c:strRef>
              <c:f>'Mn szám ráta'!$D$15</c:f>
              <c:strCache>
                <c:ptCount val="1"/>
                <c:pt idx="0">
                  <c:v>Munkanélküliségi ráta</c:v>
                </c:pt>
              </c:strCache>
            </c:strRef>
          </c:tx>
          <c:spPr>
            <a:ln w="44450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multiLvlStrRef>
              <c:f>'Mn szám ráta'!$A$16:$B$43</c:f>
              <c:multiLvlStrCache>
                <c:ptCount val="28"/>
                <c:lvl>
                  <c:pt idx="0">
                    <c:v>I.</c:v>
                  </c:pt>
                  <c:pt idx="1">
                    <c:v>II.</c:v>
                  </c:pt>
                  <c:pt idx="2">
                    <c:v>III.</c:v>
                  </c:pt>
                  <c:pt idx="3">
                    <c:v>IV.</c:v>
                  </c:pt>
                  <c:pt idx="4">
                    <c:v>I.</c:v>
                  </c:pt>
                  <c:pt idx="5">
                    <c:v>II.</c:v>
                  </c:pt>
                  <c:pt idx="6">
                    <c:v>III.</c:v>
                  </c:pt>
                  <c:pt idx="7">
                    <c:v>IV.</c:v>
                  </c:pt>
                  <c:pt idx="8">
                    <c:v>I.</c:v>
                  </c:pt>
                  <c:pt idx="9">
                    <c:v>II.</c:v>
                  </c:pt>
                  <c:pt idx="10">
                    <c:v>III.</c:v>
                  </c:pt>
                  <c:pt idx="11">
                    <c:v>IV.</c:v>
                  </c:pt>
                  <c:pt idx="12">
                    <c:v>I.</c:v>
                  </c:pt>
                  <c:pt idx="13">
                    <c:v>II.</c:v>
                  </c:pt>
                  <c:pt idx="14">
                    <c:v>III.</c:v>
                  </c:pt>
                  <c:pt idx="15">
                    <c:v>IV.</c:v>
                  </c:pt>
                  <c:pt idx="16">
                    <c:v>I.</c:v>
                  </c:pt>
                  <c:pt idx="17">
                    <c:v>II.</c:v>
                  </c:pt>
                  <c:pt idx="18">
                    <c:v>III.</c:v>
                  </c:pt>
                  <c:pt idx="19">
                    <c:v>IV.</c:v>
                  </c:pt>
                  <c:pt idx="20">
                    <c:v>I.</c:v>
                  </c:pt>
                  <c:pt idx="21">
                    <c:v>II.</c:v>
                  </c:pt>
                  <c:pt idx="22">
                    <c:v>III.</c:v>
                  </c:pt>
                  <c:pt idx="23">
                    <c:v>IV.</c:v>
                  </c:pt>
                  <c:pt idx="24">
                    <c:v>I.</c:v>
                  </c:pt>
                  <c:pt idx="25">
                    <c:v>II.</c:v>
                  </c:pt>
                  <c:pt idx="26">
                    <c:v>III.</c:v>
                  </c:pt>
                  <c:pt idx="27">
                    <c:v>IV.</c:v>
                  </c:pt>
                </c:lvl>
                <c:lvl>
                  <c:pt idx="0">
                    <c:v>2010.</c:v>
                  </c:pt>
                  <c:pt idx="4">
                    <c:v>2011.</c:v>
                  </c:pt>
                  <c:pt idx="8">
                    <c:v>2012.</c:v>
                  </c:pt>
                  <c:pt idx="12">
                    <c:v>2013.</c:v>
                  </c:pt>
                  <c:pt idx="16">
                    <c:v>2014.</c:v>
                  </c:pt>
                  <c:pt idx="20">
                    <c:v>2015.</c:v>
                  </c:pt>
                  <c:pt idx="24">
                    <c:v>2016.</c:v>
                  </c:pt>
                </c:lvl>
              </c:multiLvlStrCache>
            </c:multiLvlStrRef>
          </c:cat>
          <c:val>
            <c:numRef>
              <c:f>'Mn szám ráta'!$D$16:$D$43</c:f>
              <c:numCache>
                <c:formatCode>#\ ##0.0</c:formatCode>
                <c:ptCount val="28"/>
                <c:pt idx="0">
                  <c:v>11.838647940334043</c:v>
                </c:pt>
                <c:pt idx="1">
                  <c:v>11.209207207026539</c:v>
                </c:pt>
                <c:pt idx="2">
                  <c:v>10.844457334388204</c:v>
                </c:pt>
                <c:pt idx="3">
                  <c:v>10.802586616305481</c:v>
                </c:pt>
                <c:pt idx="4">
                  <c:v>11.794054146517094</c:v>
                </c:pt>
                <c:pt idx="5">
                  <c:v>10.893236560717746</c:v>
                </c:pt>
                <c:pt idx="6">
                  <c:v>10.726862804413321</c:v>
                </c:pt>
                <c:pt idx="7">
                  <c:v>10.71424005533415</c:v>
                </c:pt>
                <c:pt idx="8">
                  <c:v>11.941436061219159</c:v>
                </c:pt>
                <c:pt idx="9">
                  <c:v>10.997886964655509</c:v>
                </c:pt>
                <c:pt idx="10">
                  <c:v>10.467672276744352</c:v>
                </c:pt>
                <c:pt idx="11">
                  <c:v>10.625248007566219</c:v>
                </c:pt>
                <c:pt idx="12">
                  <c:v>11.607419165609697</c:v>
                </c:pt>
                <c:pt idx="13">
                  <c:v>10.178234519254053</c:v>
                </c:pt>
                <c:pt idx="14">
                  <c:v>9.8300004382251824</c:v>
                </c:pt>
                <c:pt idx="15">
                  <c:v>9.1234767444306577</c:v>
                </c:pt>
                <c:pt idx="16">
                  <c:v>8.2713696779159829</c:v>
                </c:pt>
                <c:pt idx="17">
                  <c:v>8.1022547446432718</c:v>
                </c:pt>
                <c:pt idx="18">
                  <c:v>7.3984499740257146</c:v>
                </c:pt>
                <c:pt idx="19">
                  <c:v>7.1398783900129157</c:v>
                </c:pt>
                <c:pt idx="20">
                  <c:v>7.7852508632597068</c:v>
                </c:pt>
                <c:pt idx="21">
                  <c:v>6.8805904307712096</c:v>
                </c:pt>
                <c:pt idx="22">
                  <c:v>6.4218756925421001</c:v>
                </c:pt>
                <c:pt idx="23">
                  <c:v>6.1833475952436805</c:v>
                </c:pt>
                <c:pt idx="24">
                  <c:v>6.0150384782350148</c:v>
                </c:pt>
                <c:pt idx="25">
                  <c:v>5.1146197071390098</c:v>
                </c:pt>
                <c:pt idx="26">
                  <c:v>4.9052244038460655</c:v>
                </c:pt>
                <c:pt idx="27">
                  <c:v>4.440463897052983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842944"/>
        <c:axId val="81836672"/>
      </c:lineChart>
      <c:catAx>
        <c:axId val="81832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81834752"/>
        <c:crosses val="autoZero"/>
        <c:auto val="1"/>
        <c:lblAlgn val="ctr"/>
        <c:lblOffset val="100"/>
        <c:noMultiLvlLbl val="0"/>
      </c:catAx>
      <c:valAx>
        <c:axId val="818347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hu-HU" dirty="0"/>
                  <a:t>Ezer fő</a:t>
                </a:r>
              </a:p>
            </c:rich>
          </c:tx>
          <c:layout>
            <c:manualLayout>
              <c:xMode val="edge"/>
              <c:yMode val="edge"/>
              <c:x val="7.9601990049751239E-3"/>
              <c:y val="2.3372058000946602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\ 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81832576"/>
        <c:crosses val="autoZero"/>
        <c:crossBetween val="between"/>
      </c:valAx>
      <c:valAx>
        <c:axId val="81836672"/>
        <c:scaling>
          <c:orientation val="minMax"/>
        </c:scaling>
        <c:delete val="0"/>
        <c:axPos val="r"/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hu-HU" dirty="0"/>
                  <a:t>%</a:t>
                </a:r>
              </a:p>
            </c:rich>
          </c:tx>
          <c:layout>
            <c:manualLayout>
              <c:xMode val="edge"/>
              <c:yMode val="edge"/>
              <c:x val="0.96775116543267914"/>
              <c:y val="3.156877931242201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\ ##0.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81842944"/>
        <c:crosses val="max"/>
        <c:crossBetween val="between"/>
      </c:valAx>
      <c:catAx>
        <c:axId val="818429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183667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1599404552042936E-2"/>
          <c:y val="0.938507747015494"/>
          <c:w val="0.89869173815959569"/>
          <c:h val="4.536322072644145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hu-HU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052457750568575E-2"/>
          <c:y val="7.4822493359991082E-2"/>
          <c:w val="0.92281816441671616"/>
          <c:h val="0.72762423266122178"/>
        </c:manualLayout>
      </c:layout>
      <c:lineChart>
        <c:grouping val="standard"/>
        <c:varyColors val="0"/>
        <c:ser>
          <c:idx val="0"/>
          <c:order val="0"/>
          <c:tx>
            <c:strRef>
              <c:f>'Fogl liskv'!$I$4</c:f>
              <c:strCache>
                <c:ptCount val="1"/>
                <c:pt idx="0">
                  <c:v>Alapfok</c:v>
                </c:pt>
              </c:strCache>
            </c:strRef>
          </c:tx>
          <c:spPr>
            <a:ln w="50800" cap="rnd">
              <a:solidFill>
                <a:schemeClr val="accent1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Fogl liskv'!$J$3:$S$3</c:f>
              <c:numCache>
                <c:formatCode>0</c:formatCode>
                <c:ptCount val="10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 formatCode="General">
                  <c:v>2012</c:v>
                </c:pt>
                <c:pt idx="6" formatCode="General">
                  <c:v>2013</c:v>
                </c:pt>
                <c:pt idx="7" formatCode="General">
                  <c:v>2014</c:v>
                </c:pt>
                <c:pt idx="8" formatCode="General">
                  <c:v>2015</c:v>
                </c:pt>
                <c:pt idx="9" formatCode="General">
                  <c:v>2016</c:v>
                </c:pt>
              </c:numCache>
            </c:numRef>
          </c:cat>
          <c:val>
            <c:numRef>
              <c:f>'Fogl liskv'!$J$4:$S$4</c:f>
              <c:numCache>
                <c:formatCode>0.0</c:formatCode>
                <c:ptCount val="10"/>
                <c:pt idx="0">
                  <c:v>20.366418742128197</c:v>
                </c:pt>
                <c:pt idx="1">
                  <c:v>20.465291684978261</c:v>
                </c:pt>
                <c:pt idx="2">
                  <c:v>19.285003673759537</c:v>
                </c:pt>
                <c:pt idx="3">
                  <c:v>19.53211480409562</c:v>
                </c:pt>
                <c:pt idx="4">
                  <c:v>19.756674399790278</c:v>
                </c:pt>
                <c:pt idx="5">
                  <c:v>20.331900609850276</c:v>
                </c:pt>
                <c:pt idx="6">
                  <c:v>21.159320488136029</c:v>
                </c:pt>
                <c:pt idx="7">
                  <c:v>24.982473870750692</c:v>
                </c:pt>
                <c:pt idx="8">
                  <c:v>27.308351456160061</c:v>
                </c:pt>
                <c:pt idx="9">
                  <c:v>29.97615575555191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Fogl liskv'!$I$5</c:f>
              <c:strCache>
                <c:ptCount val="1"/>
                <c:pt idx="0">
                  <c:v>Középfok érettségi nélkül</c:v>
                </c:pt>
              </c:strCache>
            </c:strRef>
          </c:tx>
          <c:spPr>
            <a:ln w="50800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Fogl liskv'!$J$3:$S$3</c:f>
              <c:numCache>
                <c:formatCode>0</c:formatCode>
                <c:ptCount val="10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 formatCode="General">
                  <c:v>2012</c:v>
                </c:pt>
                <c:pt idx="6" formatCode="General">
                  <c:v>2013</c:v>
                </c:pt>
                <c:pt idx="7" formatCode="General">
                  <c:v>2014</c:v>
                </c:pt>
                <c:pt idx="8" formatCode="General">
                  <c:v>2015</c:v>
                </c:pt>
                <c:pt idx="9" formatCode="General">
                  <c:v>2016</c:v>
                </c:pt>
              </c:numCache>
            </c:numRef>
          </c:cat>
          <c:val>
            <c:numRef>
              <c:f>'Fogl liskv'!$J$5:$S$5</c:f>
              <c:numCache>
                <c:formatCode>0.0</c:formatCode>
                <c:ptCount val="10"/>
                <c:pt idx="0">
                  <c:v>67.477818371607526</c:v>
                </c:pt>
                <c:pt idx="1">
                  <c:v>65.194173415517284</c:v>
                </c:pt>
                <c:pt idx="2">
                  <c:v>62.402317733771419</c:v>
                </c:pt>
                <c:pt idx="3">
                  <c:v>61.386481802426339</c:v>
                </c:pt>
                <c:pt idx="4">
                  <c:v>60.764828706209883</c:v>
                </c:pt>
                <c:pt idx="5">
                  <c:v>60.651438519938729</c:v>
                </c:pt>
                <c:pt idx="6">
                  <c:v>60.931158835244091</c:v>
                </c:pt>
                <c:pt idx="7">
                  <c:v>63.218388926826144</c:v>
                </c:pt>
                <c:pt idx="8">
                  <c:v>63.882301254165149</c:v>
                </c:pt>
                <c:pt idx="9">
                  <c:v>64.89579668566993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Fogl liskv'!$I$6</c:f>
              <c:strCache>
                <c:ptCount val="1"/>
                <c:pt idx="0">
                  <c:v>Középfok érettségivel</c:v>
                </c:pt>
              </c:strCache>
            </c:strRef>
          </c:tx>
          <c:spPr>
            <a:ln w="50800" cap="rnd">
              <a:solidFill>
                <a:schemeClr val="accent3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Fogl liskv'!$J$3:$S$3</c:f>
              <c:numCache>
                <c:formatCode>0</c:formatCode>
                <c:ptCount val="10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 formatCode="General">
                  <c:v>2012</c:v>
                </c:pt>
                <c:pt idx="6" formatCode="General">
                  <c:v>2013</c:v>
                </c:pt>
                <c:pt idx="7" formatCode="General">
                  <c:v>2014</c:v>
                </c:pt>
                <c:pt idx="8" formatCode="General">
                  <c:v>2015</c:v>
                </c:pt>
                <c:pt idx="9" formatCode="General">
                  <c:v>2016</c:v>
                </c:pt>
              </c:numCache>
            </c:numRef>
          </c:cat>
          <c:val>
            <c:numRef>
              <c:f>'Fogl liskv'!$J$6:$S$6</c:f>
              <c:numCache>
                <c:formatCode>0.0</c:formatCode>
                <c:ptCount val="10"/>
                <c:pt idx="0">
                  <c:v>57.195049090485725</c:v>
                </c:pt>
                <c:pt idx="1">
                  <c:v>55.795952941985874</c:v>
                </c:pt>
                <c:pt idx="2">
                  <c:v>54.392552062978048</c:v>
                </c:pt>
                <c:pt idx="3">
                  <c:v>53.625991976485743</c:v>
                </c:pt>
                <c:pt idx="4">
                  <c:v>53.597758362923607</c:v>
                </c:pt>
                <c:pt idx="5">
                  <c:v>54.652378485130896</c:v>
                </c:pt>
                <c:pt idx="6">
                  <c:v>55.436505538537354</c:v>
                </c:pt>
                <c:pt idx="7">
                  <c:v>57.936376792000274</c:v>
                </c:pt>
                <c:pt idx="8">
                  <c:v>59.266401668700063</c:v>
                </c:pt>
                <c:pt idx="9">
                  <c:v>61.563808633735327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Fogl liskv'!$I$7</c:f>
              <c:strCache>
                <c:ptCount val="1"/>
                <c:pt idx="0">
                  <c:v>Felsőfok</c:v>
                </c:pt>
              </c:strCache>
            </c:strRef>
          </c:tx>
          <c:spPr>
            <a:ln w="50800" cap="rnd">
              <a:solidFill>
                <a:schemeClr val="accent4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Fogl liskv'!$J$3:$S$3</c:f>
              <c:numCache>
                <c:formatCode>0</c:formatCode>
                <c:ptCount val="10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 formatCode="General">
                  <c:v>2012</c:v>
                </c:pt>
                <c:pt idx="6" formatCode="General">
                  <c:v>2013</c:v>
                </c:pt>
                <c:pt idx="7" formatCode="General">
                  <c:v>2014</c:v>
                </c:pt>
                <c:pt idx="8" formatCode="General">
                  <c:v>2015</c:v>
                </c:pt>
                <c:pt idx="9" formatCode="General">
                  <c:v>2016</c:v>
                </c:pt>
              </c:numCache>
            </c:numRef>
          </c:cat>
          <c:val>
            <c:numRef>
              <c:f>'Fogl liskv'!$J$7:$S$7</c:f>
              <c:numCache>
                <c:formatCode>0.0</c:formatCode>
                <c:ptCount val="10"/>
                <c:pt idx="0">
                  <c:v>73.760143176297987</c:v>
                </c:pt>
                <c:pt idx="1">
                  <c:v>73.499902378424053</c:v>
                </c:pt>
                <c:pt idx="2">
                  <c:v>72.146762942269049</c:v>
                </c:pt>
                <c:pt idx="3">
                  <c:v>71.544107427156263</c:v>
                </c:pt>
                <c:pt idx="4">
                  <c:v>72.252925392044375</c:v>
                </c:pt>
                <c:pt idx="5">
                  <c:v>71.880432385047101</c:v>
                </c:pt>
                <c:pt idx="6">
                  <c:v>71.944182731671276</c:v>
                </c:pt>
                <c:pt idx="7">
                  <c:v>72.907947623239735</c:v>
                </c:pt>
                <c:pt idx="8">
                  <c:v>74.499060584896554</c:v>
                </c:pt>
                <c:pt idx="9">
                  <c:v>76.11470640622216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4523648"/>
        <c:axId val="84939136"/>
      </c:lineChart>
      <c:catAx>
        <c:axId val="84523648"/>
        <c:scaling>
          <c:orientation val="minMax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84939136"/>
        <c:crosses val="autoZero"/>
        <c:auto val="1"/>
        <c:lblAlgn val="ctr"/>
        <c:lblOffset val="100"/>
        <c:noMultiLvlLbl val="0"/>
      </c:catAx>
      <c:valAx>
        <c:axId val="84939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hu-HU"/>
                  <a:t>% 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1.8518518518518517E-2"/>
              <c:y val="0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845236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hu-H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teljes létszám alakulása'!$B$25</c:f>
              <c:strCache>
                <c:ptCount val="1"/>
                <c:pt idx="0">
                  <c:v>Gimnáziumi tanuló nappali oktatásban összesen (fő)</c:v>
                </c:pt>
              </c:strCache>
            </c:strRef>
          </c:tx>
          <c:cat>
            <c:strRef>
              <c:f>'teljes létszám alakulása'!$A$26:$A$43</c:f>
              <c:strCache>
                <c:ptCount val="16"/>
                <c:pt idx="1">
                  <c:v>2002/2003</c:v>
                </c:pt>
                <c:pt idx="2">
                  <c:v>2003/2004</c:v>
                </c:pt>
                <c:pt idx="3">
                  <c:v>2004/2005</c:v>
                </c:pt>
                <c:pt idx="4">
                  <c:v>2005/2006</c:v>
                </c:pt>
                <c:pt idx="5">
                  <c:v>2006/2007</c:v>
                </c:pt>
                <c:pt idx="6">
                  <c:v>2007/2008</c:v>
                </c:pt>
                <c:pt idx="7">
                  <c:v>2008/2009</c:v>
                </c:pt>
                <c:pt idx="8">
                  <c:v>2009/2010</c:v>
                </c:pt>
                <c:pt idx="9">
                  <c:v>2010/2011</c:v>
                </c:pt>
                <c:pt idx="10">
                  <c:v>2011/2012</c:v>
                </c:pt>
                <c:pt idx="11">
                  <c:v>2012/2013</c:v>
                </c:pt>
                <c:pt idx="12">
                  <c:v>2013/2014</c:v>
                </c:pt>
                <c:pt idx="13">
                  <c:v>2014/2015</c:v>
                </c:pt>
                <c:pt idx="14">
                  <c:v>2015/2016</c:v>
                </c:pt>
                <c:pt idx="15">
                  <c:v>2016/2017</c:v>
                </c:pt>
              </c:strCache>
            </c:strRef>
          </c:cat>
          <c:val>
            <c:numRef>
              <c:f>'teljes létszám alakulása'!$B$26:$B$43</c:f>
              <c:numCache>
                <c:formatCode>#,##0</c:formatCode>
                <c:ptCount val="16"/>
                <c:pt idx="1">
                  <c:v>186508</c:v>
                </c:pt>
                <c:pt idx="2">
                  <c:v>190447</c:v>
                </c:pt>
                <c:pt idx="3">
                  <c:v>193366</c:v>
                </c:pt>
                <c:pt idx="4">
                  <c:v>197217</c:v>
                </c:pt>
                <c:pt idx="5">
                  <c:v>200292</c:v>
                </c:pt>
                <c:pt idx="6">
                  <c:v>200026</c:v>
                </c:pt>
                <c:pt idx="7">
                  <c:v>203602</c:v>
                </c:pt>
                <c:pt idx="8">
                  <c:v>201208</c:v>
                </c:pt>
                <c:pt idx="9">
                  <c:v>198700</c:v>
                </c:pt>
                <c:pt idx="10">
                  <c:v>195169</c:v>
                </c:pt>
                <c:pt idx="11">
                  <c:v>189526</c:v>
                </c:pt>
                <c:pt idx="12">
                  <c:v>185440</c:v>
                </c:pt>
                <c:pt idx="13">
                  <c:v>182228</c:v>
                </c:pt>
                <c:pt idx="14">
                  <c:v>180966</c:v>
                </c:pt>
                <c:pt idx="15">
                  <c:v>18179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teljes létszám alakulása'!$C$25</c:f>
              <c:strCache>
                <c:ptCount val="1"/>
                <c:pt idx="0">
                  <c:v>Szakgimnáziumi tanuló nappali oktatásban összesen (fő)</c:v>
                </c:pt>
              </c:strCache>
            </c:strRef>
          </c:tx>
          <c:cat>
            <c:strRef>
              <c:f>'teljes létszám alakulása'!$A$26:$A$43</c:f>
              <c:strCache>
                <c:ptCount val="16"/>
                <c:pt idx="1">
                  <c:v>2002/2003</c:v>
                </c:pt>
                <c:pt idx="2">
                  <c:v>2003/2004</c:v>
                </c:pt>
                <c:pt idx="3">
                  <c:v>2004/2005</c:v>
                </c:pt>
                <c:pt idx="4">
                  <c:v>2005/2006</c:v>
                </c:pt>
                <c:pt idx="5">
                  <c:v>2006/2007</c:v>
                </c:pt>
                <c:pt idx="6">
                  <c:v>2007/2008</c:v>
                </c:pt>
                <c:pt idx="7">
                  <c:v>2008/2009</c:v>
                </c:pt>
                <c:pt idx="8">
                  <c:v>2009/2010</c:v>
                </c:pt>
                <c:pt idx="9">
                  <c:v>2010/2011</c:v>
                </c:pt>
                <c:pt idx="10">
                  <c:v>2011/2012</c:v>
                </c:pt>
                <c:pt idx="11">
                  <c:v>2012/2013</c:v>
                </c:pt>
                <c:pt idx="12">
                  <c:v>2013/2014</c:v>
                </c:pt>
                <c:pt idx="13">
                  <c:v>2014/2015</c:v>
                </c:pt>
                <c:pt idx="14">
                  <c:v>2015/2016</c:v>
                </c:pt>
                <c:pt idx="15">
                  <c:v>2016/2017</c:v>
                </c:pt>
              </c:strCache>
            </c:strRef>
          </c:cat>
          <c:val>
            <c:numRef>
              <c:f>'teljes létszám alakulása'!$C$26:$C$43</c:f>
              <c:numCache>
                <c:formatCode>#,##0</c:formatCode>
                <c:ptCount val="16"/>
                <c:pt idx="1">
                  <c:v>239793</c:v>
                </c:pt>
                <c:pt idx="2">
                  <c:v>247622</c:v>
                </c:pt>
                <c:pt idx="3">
                  <c:v>245302</c:v>
                </c:pt>
                <c:pt idx="4">
                  <c:v>244001</c:v>
                </c:pt>
                <c:pt idx="5">
                  <c:v>243096</c:v>
                </c:pt>
                <c:pt idx="6">
                  <c:v>242016</c:v>
                </c:pt>
                <c:pt idx="7">
                  <c:v>236518</c:v>
                </c:pt>
                <c:pt idx="8">
                  <c:v>242004</c:v>
                </c:pt>
                <c:pt idx="9">
                  <c:v>240364</c:v>
                </c:pt>
                <c:pt idx="10">
                  <c:v>233122</c:v>
                </c:pt>
                <c:pt idx="11">
                  <c:v>224214</c:v>
                </c:pt>
                <c:pt idx="12">
                  <c:v>203515</c:v>
                </c:pt>
                <c:pt idx="13">
                  <c:v>188762</c:v>
                </c:pt>
                <c:pt idx="14">
                  <c:v>182529</c:v>
                </c:pt>
                <c:pt idx="15">
                  <c:v>16757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teljes létszám alakulása'!$D$25</c:f>
              <c:strCache>
                <c:ptCount val="1"/>
              </c:strCache>
            </c:strRef>
          </c:tx>
          <c:cat>
            <c:strRef>
              <c:f>'teljes létszám alakulása'!$A$26:$A$43</c:f>
              <c:strCache>
                <c:ptCount val="16"/>
                <c:pt idx="1">
                  <c:v>2002/2003</c:v>
                </c:pt>
                <c:pt idx="2">
                  <c:v>2003/2004</c:v>
                </c:pt>
                <c:pt idx="3">
                  <c:v>2004/2005</c:v>
                </c:pt>
                <c:pt idx="4">
                  <c:v>2005/2006</c:v>
                </c:pt>
                <c:pt idx="5">
                  <c:v>2006/2007</c:v>
                </c:pt>
                <c:pt idx="6">
                  <c:v>2007/2008</c:v>
                </c:pt>
                <c:pt idx="7">
                  <c:v>2008/2009</c:v>
                </c:pt>
                <c:pt idx="8">
                  <c:v>2009/2010</c:v>
                </c:pt>
                <c:pt idx="9">
                  <c:v>2010/2011</c:v>
                </c:pt>
                <c:pt idx="10">
                  <c:v>2011/2012</c:v>
                </c:pt>
                <c:pt idx="11">
                  <c:v>2012/2013</c:v>
                </c:pt>
                <c:pt idx="12">
                  <c:v>2013/2014</c:v>
                </c:pt>
                <c:pt idx="13">
                  <c:v>2014/2015</c:v>
                </c:pt>
                <c:pt idx="14">
                  <c:v>2015/2016</c:v>
                </c:pt>
                <c:pt idx="15">
                  <c:v>2016/2017</c:v>
                </c:pt>
              </c:strCache>
            </c:strRef>
          </c:cat>
          <c:val>
            <c:numRef>
              <c:f>'teljes létszám alakulása'!$D$26:$D$43</c:f>
            </c:numRef>
          </c:val>
          <c:smooth val="0"/>
        </c:ser>
        <c:ser>
          <c:idx val="3"/>
          <c:order val="3"/>
          <c:tx>
            <c:strRef>
              <c:f>'teljes létszám alakulása'!$E$25</c:f>
              <c:strCache>
                <c:ptCount val="1"/>
                <c:pt idx="0">
                  <c:v>Szakközépiskolai tanuló nappali oktatásban összesen (fő)</c:v>
                </c:pt>
              </c:strCache>
            </c:strRef>
          </c:tx>
          <c:marker>
            <c:symbol val="triangle"/>
            <c:size val="7"/>
          </c:marker>
          <c:cat>
            <c:strRef>
              <c:f>'teljes létszám alakulása'!$A$26:$A$43</c:f>
              <c:strCache>
                <c:ptCount val="16"/>
                <c:pt idx="1">
                  <c:v>2002/2003</c:v>
                </c:pt>
                <c:pt idx="2">
                  <c:v>2003/2004</c:v>
                </c:pt>
                <c:pt idx="3">
                  <c:v>2004/2005</c:v>
                </c:pt>
                <c:pt idx="4">
                  <c:v>2005/2006</c:v>
                </c:pt>
                <c:pt idx="5">
                  <c:v>2006/2007</c:v>
                </c:pt>
                <c:pt idx="6">
                  <c:v>2007/2008</c:v>
                </c:pt>
                <c:pt idx="7">
                  <c:v>2008/2009</c:v>
                </c:pt>
                <c:pt idx="8">
                  <c:v>2009/2010</c:v>
                </c:pt>
                <c:pt idx="9">
                  <c:v>2010/2011</c:v>
                </c:pt>
                <c:pt idx="10">
                  <c:v>2011/2012</c:v>
                </c:pt>
                <c:pt idx="11">
                  <c:v>2012/2013</c:v>
                </c:pt>
                <c:pt idx="12">
                  <c:v>2013/2014</c:v>
                </c:pt>
                <c:pt idx="13">
                  <c:v>2014/2015</c:v>
                </c:pt>
                <c:pt idx="14">
                  <c:v>2015/2016</c:v>
                </c:pt>
                <c:pt idx="15">
                  <c:v>2016/2017</c:v>
                </c:pt>
              </c:strCache>
            </c:strRef>
          </c:cat>
          <c:val>
            <c:numRef>
              <c:f>'teljes létszám alakulása'!$E$26:$E$43</c:f>
              <c:numCache>
                <c:formatCode>#,##0</c:formatCode>
                <c:ptCount val="16"/>
                <c:pt idx="1">
                  <c:v>123341</c:v>
                </c:pt>
                <c:pt idx="2">
                  <c:v>123457</c:v>
                </c:pt>
                <c:pt idx="3">
                  <c:v>123403</c:v>
                </c:pt>
                <c:pt idx="4">
                  <c:v>122162</c:v>
                </c:pt>
                <c:pt idx="5">
                  <c:v>119637</c:v>
                </c:pt>
                <c:pt idx="6">
                  <c:v>123192</c:v>
                </c:pt>
                <c:pt idx="7">
                  <c:v>123865</c:v>
                </c:pt>
                <c:pt idx="8">
                  <c:v>128674</c:v>
                </c:pt>
                <c:pt idx="9">
                  <c:v>129421</c:v>
                </c:pt>
                <c:pt idx="10">
                  <c:v>129440</c:v>
                </c:pt>
                <c:pt idx="11">
                  <c:v>117543</c:v>
                </c:pt>
                <c:pt idx="12">
                  <c:v>105122</c:v>
                </c:pt>
                <c:pt idx="13">
                  <c:v>92536</c:v>
                </c:pt>
                <c:pt idx="14">
                  <c:v>80493</c:v>
                </c:pt>
                <c:pt idx="15">
                  <c:v>78231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'teljes létszám alakulása'!$F$25</c:f>
              <c:strCache>
                <c:ptCount val="1"/>
                <c:pt idx="0">
                  <c:v>Szakiskolai és készségfejlesztő iskolai tanuló nappali oktatásban összesen (fő)</c:v>
                </c:pt>
              </c:strCache>
            </c:strRef>
          </c:tx>
          <c:marker>
            <c:symbol val="plus"/>
            <c:size val="7"/>
          </c:marker>
          <c:cat>
            <c:strRef>
              <c:f>'teljes létszám alakulása'!$A$26:$A$43</c:f>
              <c:strCache>
                <c:ptCount val="16"/>
                <c:pt idx="1">
                  <c:v>2002/2003</c:v>
                </c:pt>
                <c:pt idx="2">
                  <c:v>2003/2004</c:v>
                </c:pt>
                <c:pt idx="3">
                  <c:v>2004/2005</c:v>
                </c:pt>
                <c:pt idx="4">
                  <c:v>2005/2006</c:v>
                </c:pt>
                <c:pt idx="5">
                  <c:v>2006/2007</c:v>
                </c:pt>
                <c:pt idx="6">
                  <c:v>2007/2008</c:v>
                </c:pt>
                <c:pt idx="7">
                  <c:v>2008/2009</c:v>
                </c:pt>
                <c:pt idx="8">
                  <c:v>2009/2010</c:v>
                </c:pt>
                <c:pt idx="9">
                  <c:v>2010/2011</c:v>
                </c:pt>
                <c:pt idx="10">
                  <c:v>2011/2012</c:v>
                </c:pt>
                <c:pt idx="11">
                  <c:v>2012/2013</c:v>
                </c:pt>
                <c:pt idx="12">
                  <c:v>2013/2014</c:v>
                </c:pt>
                <c:pt idx="13">
                  <c:v>2014/2015</c:v>
                </c:pt>
                <c:pt idx="14">
                  <c:v>2015/2016</c:v>
                </c:pt>
                <c:pt idx="15">
                  <c:v>2016/2017</c:v>
                </c:pt>
              </c:strCache>
            </c:strRef>
          </c:cat>
          <c:val>
            <c:numRef>
              <c:f>'teljes létszám alakulása'!$F$26:$F$43</c:f>
              <c:numCache>
                <c:formatCode>#,##0</c:formatCode>
                <c:ptCount val="16"/>
                <c:pt idx="1">
                  <c:v>7200</c:v>
                </c:pt>
                <c:pt idx="2">
                  <c:v>8147</c:v>
                </c:pt>
                <c:pt idx="3">
                  <c:v>8369</c:v>
                </c:pt>
                <c:pt idx="4">
                  <c:v>8797</c:v>
                </c:pt>
                <c:pt idx="5">
                  <c:v>9563</c:v>
                </c:pt>
                <c:pt idx="6">
                  <c:v>9773</c:v>
                </c:pt>
                <c:pt idx="7">
                  <c:v>9785</c:v>
                </c:pt>
                <c:pt idx="8">
                  <c:v>9968</c:v>
                </c:pt>
                <c:pt idx="9">
                  <c:v>9816</c:v>
                </c:pt>
                <c:pt idx="10">
                  <c:v>9720</c:v>
                </c:pt>
                <c:pt idx="11">
                  <c:v>9134</c:v>
                </c:pt>
                <c:pt idx="12">
                  <c:v>8344</c:v>
                </c:pt>
                <c:pt idx="13">
                  <c:v>7496</c:v>
                </c:pt>
                <c:pt idx="14">
                  <c:v>7146</c:v>
                </c:pt>
                <c:pt idx="15">
                  <c:v>710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3042560"/>
        <c:axId val="93995392"/>
      </c:lineChart>
      <c:catAx>
        <c:axId val="93042560"/>
        <c:scaling>
          <c:orientation val="minMax"/>
        </c:scaling>
        <c:delete val="0"/>
        <c:axPos val="b"/>
        <c:majorTickMark val="out"/>
        <c:minorTickMark val="none"/>
        <c:tickLblPos val="nextTo"/>
        <c:crossAx val="93995392"/>
        <c:crosses val="autoZero"/>
        <c:auto val="1"/>
        <c:lblAlgn val="ctr"/>
        <c:lblOffset val="100"/>
        <c:noMultiLvlLbl val="0"/>
      </c:catAx>
      <c:valAx>
        <c:axId val="93995392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crossAx val="93042560"/>
        <c:crosses val="autoZero"/>
        <c:crossBetween val="between"/>
      </c:valAx>
    </c:plotArea>
    <c:legend>
      <c:legendPos val="r"/>
      <c:layout/>
      <c:overlay val="0"/>
      <c:txPr>
        <a:bodyPr/>
        <a:lstStyle/>
        <a:p>
          <a:pPr>
            <a:defRPr sz="1600"/>
          </a:pPr>
          <a:endParaRPr lang="hu-HU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0474</cdr:x>
      <cdr:y>0.44494</cdr:y>
    </cdr:from>
    <cdr:to>
      <cdr:x>0.52274</cdr:x>
      <cdr:y>0.48338</cdr:y>
    </cdr:to>
    <cdr:sp macro="" textlink="">
      <cdr:nvSpPr>
        <cdr:cNvPr id="1320961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622073" y="2022296"/>
          <a:ext cx="144853" cy="17985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ffectLst xmlns:a="http://schemas.openxmlformats.org/drawingml/2006/main"/>
        <a:extLst xmlns:a="http://schemas.openxmlformats.org/drawingml/2006/main"/>
      </cdr:spPr>
      <cdr:txBody>
        <a:bodyPr xmlns:a="http://schemas.openxmlformats.org/drawingml/2006/main" vertOverflow="clip" wrap="square" lIns="27432" tIns="22860" rIns="27432" bIns="22860" anchor="ctr" upright="1"/>
        <a:lstStyle xmlns:a="http://schemas.openxmlformats.org/drawingml/2006/main"/>
        <a:p xmlns:a="http://schemas.openxmlformats.org/drawingml/2006/main">
          <a:endParaRPr lang="hu-HU" dirty="0"/>
        </a:p>
      </cdr:txBody>
    </cdr:sp>
  </cdr:relSizeAnchor>
  <cdr:relSizeAnchor xmlns:cdr="http://schemas.openxmlformats.org/drawingml/2006/chartDrawing">
    <cdr:from>
      <cdr:x>0.33891</cdr:x>
      <cdr:y>0.41371</cdr:y>
    </cdr:from>
    <cdr:to>
      <cdr:x>0.39956</cdr:x>
      <cdr:y>0.46826</cdr:y>
    </cdr:to>
    <cdr:sp macro="" textlink="">
      <cdr:nvSpPr>
        <cdr:cNvPr id="5" name="Szövegdoboz 4"/>
        <cdr:cNvSpPr txBox="1"/>
      </cdr:nvSpPr>
      <cdr:spPr>
        <a:xfrm xmlns:a="http://schemas.openxmlformats.org/drawingml/2006/main">
          <a:off x="2816498" y="2184400"/>
          <a:ext cx="504056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hu-HU" sz="1400" b="1" dirty="0" smtClean="0"/>
            <a:t>3 732 ezer</a:t>
          </a:r>
          <a:endParaRPr lang="hu-HU" sz="1400" b="1" dirty="0"/>
        </a:p>
      </cdr:txBody>
    </cdr:sp>
  </cdr:relSizeAnchor>
  <cdr:relSizeAnchor xmlns:cdr="http://schemas.openxmlformats.org/drawingml/2006/chartDrawing">
    <cdr:from>
      <cdr:x>0.34757</cdr:x>
      <cdr:y>0.45979</cdr:y>
    </cdr:from>
    <cdr:to>
      <cdr:x>0.39153</cdr:x>
      <cdr:y>0.50438</cdr:y>
    </cdr:to>
    <cdr:sp macro="" textlink="">
      <cdr:nvSpPr>
        <cdr:cNvPr id="6" name="Szövegdoboz 5"/>
        <cdr:cNvSpPr txBox="1"/>
      </cdr:nvSpPr>
      <cdr:spPr>
        <a:xfrm xmlns:a="http://schemas.openxmlformats.org/drawingml/2006/main">
          <a:off x="2888506" y="2427724"/>
          <a:ext cx="365319" cy="23542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hu-HU" sz="1400" b="1" dirty="0" smtClean="0">
              <a:solidFill>
                <a:schemeClr val="accent2"/>
              </a:solidFill>
            </a:rPr>
            <a:t>54,9 %</a:t>
          </a:r>
          <a:endParaRPr lang="hu-HU" sz="1400" b="1" dirty="0">
            <a:solidFill>
              <a:schemeClr val="accent2"/>
            </a:solidFill>
          </a:endParaRPr>
        </a:p>
      </cdr:txBody>
    </cdr:sp>
  </cdr:relSizeAnchor>
  <cdr:relSizeAnchor xmlns:cdr="http://schemas.openxmlformats.org/drawingml/2006/chartDrawing">
    <cdr:from>
      <cdr:x>0.85012</cdr:x>
      <cdr:y>0.10004</cdr:y>
    </cdr:from>
    <cdr:to>
      <cdr:x>0.91077</cdr:x>
      <cdr:y>0.16823</cdr:y>
    </cdr:to>
    <cdr:sp macro="" textlink="">
      <cdr:nvSpPr>
        <cdr:cNvPr id="9" name="Szövegdoboz 8"/>
        <cdr:cNvSpPr txBox="1"/>
      </cdr:nvSpPr>
      <cdr:spPr>
        <a:xfrm xmlns:a="http://schemas.openxmlformats.org/drawingml/2006/main">
          <a:off x="7064970" y="528216"/>
          <a:ext cx="504056" cy="36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hu-HU" sz="1400" b="1" dirty="0" smtClean="0"/>
            <a:t>4 352 ezer</a:t>
          </a:r>
          <a:endParaRPr lang="hu-HU" sz="1400" b="1" dirty="0"/>
        </a:p>
      </cdr:txBody>
    </cdr:sp>
  </cdr:relSizeAnchor>
  <cdr:relSizeAnchor xmlns:cdr="http://schemas.openxmlformats.org/drawingml/2006/chartDrawing">
    <cdr:from>
      <cdr:x>0.85878</cdr:x>
      <cdr:y>0.15459</cdr:y>
    </cdr:from>
    <cdr:to>
      <cdr:x>0.91077</cdr:x>
      <cdr:y>0.20914</cdr:y>
    </cdr:to>
    <cdr:sp macro="" textlink="">
      <cdr:nvSpPr>
        <cdr:cNvPr id="10" name="Szövegdoboz 9"/>
        <cdr:cNvSpPr txBox="1"/>
      </cdr:nvSpPr>
      <cdr:spPr>
        <a:xfrm xmlns:a="http://schemas.openxmlformats.org/drawingml/2006/main">
          <a:off x="7136978" y="816248"/>
          <a:ext cx="43204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hu-HU" sz="1400" b="1" dirty="0" smtClean="0">
              <a:solidFill>
                <a:schemeClr val="accent2"/>
              </a:solidFill>
            </a:rPr>
            <a:t>66,5 %</a:t>
          </a:r>
          <a:endParaRPr lang="hu-HU" sz="1400" b="1" dirty="0">
            <a:solidFill>
              <a:schemeClr val="accent2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4589</cdr:x>
      <cdr:y>0.44805</cdr:y>
    </cdr:from>
    <cdr:to>
      <cdr:x>0.89516</cdr:x>
      <cdr:y>0.4988</cdr:y>
    </cdr:to>
    <cdr:sp macro="" textlink="">
      <cdr:nvSpPr>
        <cdr:cNvPr id="2" name="Szövegdoboz 1"/>
        <cdr:cNvSpPr txBox="1"/>
      </cdr:nvSpPr>
      <cdr:spPr>
        <a:xfrm xmlns:a="http://schemas.openxmlformats.org/drawingml/2006/main">
          <a:off x="7416824" y="2542469"/>
          <a:ext cx="43204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hu-HU" sz="1400" b="1" dirty="0" smtClean="0"/>
            <a:t>235 ezer</a:t>
          </a:r>
          <a:endParaRPr lang="hu-HU" sz="1400" b="1" dirty="0"/>
        </a:p>
      </cdr:txBody>
    </cdr:sp>
  </cdr:relSizeAnchor>
  <cdr:relSizeAnchor xmlns:cdr="http://schemas.openxmlformats.org/drawingml/2006/chartDrawing">
    <cdr:from>
      <cdr:x>0.84589</cdr:x>
      <cdr:y>0.47462</cdr:y>
    </cdr:from>
    <cdr:to>
      <cdr:x>0.90337</cdr:x>
      <cdr:y>0.52538</cdr:y>
    </cdr:to>
    <cdr:sp macro="" textlink="">
      <cdr:nvSpPr>
        <cdr:cNvPr id="3" name="Szövegdoboz 2"/>
        <cdr:cNvSpPr txBox="1"/>
      </cdr:nvSpPr>
      <cdr:spPr>
        <a:xfrm xmlns:a="http://schemas.openxmlformats.org/drawingml/2006/main">
          <a:off x="7416824" y="2693268"/>
          <a:ext cx="504056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hu-HU" sz="1400" b="1" dirty="0" smtClean="0">
              <a:solidFill>
                <a:schemeClr val="accent2"/>
              </a:solidFill>
            </a:rPr>
            <a:t>5,1 %</a:t>
          </a:r>
          <a:endParaRPr lang="hu-HU" sz="1400" b="1" dirty="0">
            <a:solidFill>
              <a:schemeClr val="accent2"/>
            </a:solidFill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55721</cdr:x>
      <cdr:y>0.04223</cdr:y>
    </cdr:from>
    <cdr:to>
      <cdr:x>0.55721</cdr:x>
      <cdr:y>0.78829</cdr:y>
    </cdr:to>
    <cdr:cxnSp macro="">
      <cdr:nvCxnSpPr>
        <cdr:cNvPr id="2" name="Egyenes összekötő 1"/>
        <cdr:cNvCxnSpPr/>
      </cdr:nvCxnSpPr>
      <cdr:spPr>
        <a:xfrm xmlns:a="http://schemas.openxmlformats.org/drawingml/2006/main" flipV="1">
          <a:off x="3209925" y="142875"/>
          <a:ext cx="0" cy="2524125"/>
        </a:xfrm>
        <a:prstGeom xmlns:a="http://schemas.openxmlformats.org/drawingml/2006/main" prst="line">
          <a:avLst/>
        </a:prstGeom>
        <a:ln xmlns:a="http://schemas.openxmlformats.org/drawingml/2006/main" w="19050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51063" cy="497447"/>
          </a:xfrm>
          <a:prstGeom prst="rect">
            <a:avLst/>
          </a:prstGeom>
        </p:spPr>
        <p:txBody>
          <a:bodyPr vert="horz" lIns="92229" tIns="46114" rIns="92229" bIns="46114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quarter" idx="1"/>
          </p:nvPr>
        </p:nvSpPr>
        <p:spPr>
          <a:xfrm>
            <a:off x="3856121" y="1"/>
            <a:ext cx="2951062" cy="497447"/>
          </a:xfrm>
          <a:prstGeom prst="rect">
            <a:avLst/>
          </a:prstGeom>
        </p:spPr>
        <p:txBody>
          <a:bodyPr vert="horz" lIns="92229" tIns="46114" rIns="92229" bIns="46114" rtlCol="0"/>
          <a:lstStyle>
            <a:lvl1pPr algn="r">
              <a:defRPr sz="1200"/>
            </a:lvl1pPr>
          </a:lstStyle>
          <a:p>
            <a:fld id="{FC791834-9F3C-4AD6-9F73-42C279B23999}" type="datetimeFigureOut">
              <a:rPr lang="hu-HU" smtClean="0"/>
              <a:t>2017.06.28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2"/>
          </p:nvPr>
        </p:nvSpPr>
        <p:spPr>
          <a:xfrm>
            <a:off x="2" y="9441879"/>
            <a:ext cx="2951063" cy="497446"/>
          </a:xfrm>
          <a:prstGeom prst="rect">
            <a:avLst/>
          </a:prstGeom>
        </p:spPr>
        <p:txBody>
          <a:bodyPr vert="horz" lIns="92229" tIns="46114" rIns="92229" bIns="46114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3"/>
          </p:nvPr>
        </p:nvSpPr>
        <p:spPr>
          <a:xfrm>
            <a:off x="3856121" y="9441879"/>
            <a:ext cx="2951062" cy="497446"/>
          </a:xfrm>
          <a:prstGeom prst="rect">
            <a:avLst/>
          </a:prstGeom>
        </p:spPr>
        <p:txBody>
          <a:bodyPr vert="horz" lIns="92229" tIns="46114" rIns="92229" bIns="46114" rtlCol="0" anchor="b"/>
          <a:lstStyle>
            <a:lvl1pPr algn="r">
              <a:defRPr sz="1200"/>
            </a:lvl1pPr>
          </a:lstStyle>
          <a:p>
            <a:fld id="{8A5F4F25-84D1-4694-A3CB-29990D9105F4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7488410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50475" cy="497047"/>
          </a:xfrm>
          <a:prstGeom prst="rect">
            <a:avLst/>
          </a:prstGeom>
        </p:spPr>
        <p:txBody>
          <a:bodyPr vert="horz" lIns="92229" tIns="46114" rIns="92229" bIns="46114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56739" y="1"/>
            <a:ext cx="2950475" cy="497047"/>
          </a:xfrm>
          <a:prstGeom prst="rect">
            <a:avLst/>
          </a:prstGeom>
        </p:spPr>
        <p:txBody>
          <a:bodyPr vert="horz" lIns="92229" tIns="46114" rIns="92229" bIns="46114" rtlCol="0"/>
          <a:lstStyle>
            <a:lvl1pPr algn="r">
              <a:defRPr sz="1200"/>
            </a:lvl1pPr>
          </a:lstStyle>
          <a:p>
            <a:fld id="{1F9CD68A-4B8B-4FF2-90F0-E37A1874C6FB}" type="datetimeFigureOut">
              <a:rPr lang="hu-HU" smtClean="0"/>
              <a:t>2017.06.28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70462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29" tIns="46114" rIns="92229" bIns="46114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0880" y="4721940"/>
            <a:ext cx="5447030" cy="4473416"/>
          </a:xfrm>
          <a:prstGeom prst="rect">
            <a:avLst/>
          </a:prstGeom>
        </p:spPr>
        <p:txBody>
          <a:bodyPr vert="horz" lIns="92229" tIns="46114" rIns="92229" bIns="46114" rtlCol="0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2" y="9442153"/>
            <a:ext cx="2950475" cy="497047"/>
          </a:xfrm>
          <a:prstGeom prst="rect">
            <a:avLst/>
          </a:prstGeom>
        </p:spPr>
        <p:txBody>
          <a:bodyPr vert="horz" lIns="92229" tIns="46114" rIns="92229" bIns="46114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56739" y="9442153"/>
            <a:ext cx="2950475" cy="497047"/>
          </a:xfrm>
          <a:prstGeom prst="rect">
            <a:avLst/>
          </a:prstGeom>
        </p:spPr>
        <p:txBody>
          <a:bodyPr vert="horz" lIns="92229" tIns="46114" rIns="92229" bIns="46114" rtlCol="0" anchor="b"/>
          <a:lstStyle>
            <a:lvl1pPr algn="r">
              <a:defRPr sz="1200"/>
            </a:lvl1pPr>
          </a:lstStyle>
          <a:p>
            <a:fld id="{19963B3C-8E53-4494-B5E8-A4917E0E71F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4702077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Diakép hely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1" name="Jegyzetek helye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u-HU" dirty="0" smtClean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6B2151D-F1F4-4254-A061-EDBA797ADF48}" type="slidenum">
              <a:rPr lang="hu-HU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hu-H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0178" indent="-170178">
              <a:buFont typeface="Arial" pitchFamily="34" charset="0"/>
              <a:buChar char="•"/>
            </a:pPr>
            <a:r>
              <a:rPr lang="hu-HU" dirty="0"/>
              <a:t>A gyermekek tanulmányi idejének minél hasznosabb megszervezése, </a:t>
            </a:r>
            <a:r>
              <a:rPr lang="hu-HU" b="1" dirty="0"/>
              <a:t>a tanulmányi terhek csökkentése</a:t>
            </a:r>
            <a:r>
              <a:rPr lang="hu-HU" dirty="0"/>
              <a:t>, </a:t>
            </a:r>
            <a:r>
              <a:rPr lang="hu-HU" b="1" dirty="0"/>
              <a:t>az iskolában töltött idő hatékonyságának</a:t>
            </a:r>
            <a:r>
              <a:rPr lang="hu-HU" dirty="0"/>
              <a:t> növelése elengedhetetlen.</a:t>
            </a:r>
          </a:p>
          <a:p>
            <a:pPr marL="170178" indent="-170178">
              <a:buFont typeface="Arial" pitchFamily="34" charset="0"/>
              <a:buChar char="•"/>
            </a:pPr>
            <a:r>
              <a:rPr lang="hu-HU" b="1" dirty="0"/>
              <a:t>Az OECD, PISA, hazai országos kompetencia mérés észrevételei.</a:t>
            </a:r>
            <a:endParaRPr lang="hu-HU" dirty="0"/>
          </a:p>
          <a:p>
            <a:pPr marL="170178" indent="-170178">
              <a:buFont typeface="Arial" pitchFamily="34" charset="0"/>
              <a:buChar char="•"/>
            </a:pPr>
            <a:r>
              <a:rPr lang="hu-HU" dirty="0"/>
              <a:t>Az általános iskolában sokkal nagyobb hangsúlyt kell fektetni a matematikai/logikai gondolkodás, szövegértés/olvasás/írás és a természettudományos valamint az ezeket a képességeket erősítő egyéb foglalkozásokra, mintsem a tantárgyi klasszikus lexikális ismeretátadásra fordítani. </a:t>
            </a:r>
          </a:p>
          <a:p>
            <a:pPr marL="170178" indent="-170178">
              <a:buFont typeface="Arial" pitchFamily="34" charset="0"/>
              <a:buChar char="•"/>
            </a:pPr>
            <a:r>
              <a:rPr lang="hu-HU" dirty="0"/>
              <a:t>Hosszú ideje nem javul, a matematikai tanulói teljesítménymérések tekintetében erőteljesen romlik. </a:t>
            </a:r>
          </a:p>
          <a:p>
            <a:pPr marL="170178" indent="-170178">
              <a:buFont typeface="Arial" pitchFamily="34" charset="0"/>
              <a:buChar char="•"/>
            </a:pPr>
            <a:r>
              <a:rPr lang="hu-HU" dirty="0"/>
              <a:t>A gyermekek leterheltsége nagy, </a:t>
            </a:r>
            <a:r>
              <a:rPr lang="hu-HU" b="1" dirty="0"/>
              <a:t>a </a:t>
            </a:r>
            <a:r>
              <a:rPr lang="hu-HU" b="1" dirty="0" err="1"/>
              <a:t>Nat</a:t>
            </a:r>
            <a:r>
              <a:rPr lang="hu-HU" b="1" dirty="0"/>
              <a:t> és</a:t>
            </a:r>
            <a:r>
              <a:rPr lang="hu-HU" dirty="0"/>
              <a:t> </a:t>
            </a:r>
            <a:r>
              <a:rPr lang="hu-HU" b="1" dirty="0"/>
              <a:t>a kerettantervi szabályozás tartalmi felülvizsgálata indokolt. </a:t>
            </a:r>
            <a:endParaRPr lang="hu-HU" dirty="0"/>
          </a:p>
          <a:p>
            <a:pPr marL="170178" indent="-170178">
              <a:buFont typeface="Arial" pitchFamily="34" charset="0"/>
              <a:buChar char="•"/>
            </a:pPr>
            <a:r>
              <a:rPr lang="hu-HU" b="1" dirty="0"/>
              <a:t>Digitális környezet</a:t>
            </a:r>
            <a:r>
              <a:rPr lang="hu-HU" dirty="0"/>
              <a:t> kihívásaira fel kell készíteni a gyermekeinket.</a:t>
            </a:r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236A1B-4BD8-4E9F-93D1-7A5502410691}" type="slidenum">
              <a:rPr lang="hu-HU" smtClean="0"/>
              <a:t>28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7198655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Elindult, és folytatódik:</a:t>
            </a:r>
          </a:p>
          <a:p>
            <a:pPr marL="170178" indent="-170178">
              <a:buFont typeface="Arial" pitchFamily="34" charset="0"/>
              <a:buChar char="•"/>
            </a:pPr>
            <a:r>
              <a:rPr lang="hu-HU" dirty="0" smtClean="0"/>
              <a:t>TTT</a:t>
            </a:r>
            <a:r>
              <a:rPr lang="hu-HU" baseline="0" dirty="0" smtClean="0"/>
              <a:t> beruházásokkal</a:t>
            </a:r>
            <a:r>
              <a:rPr lang="hu-HU" dirty="0" smtClean="0"/>
              <a:t> az intézményrendszer </a:t>
            </a:r>
            <a:r>
              <a:rPr lang="hu-HU" dirty="0" err="1" smtClean="0"/>
              <a:t>infra.fejlesztése</a:t>
            </a:r>
            <a:r>
              <a:rPr lang="hu-HU" dirty="0" smtClean="0"/>
              <a:t>.</a:t>
            </a:r>
          </a:p>
          <a:p>
            <a:pPr marL="170178" indent="-170178">
              <a:buFont typeface="Arial" pitchFamily="34" charset="0"/>
              <a:buChar char="•"/>
            </a:pPr>
            <a:r>
              <a:rPr lang="hu-HU" dirty="0" smtClean="0"/>
              <a:t>Informatikai</a:t>
            </a:r>
            <a:r>
              <a:rPr lang="hu-HU" baseline="0" dirty="0" smtClean="0"/>
              <a:t> eszközpark a fejlesztése</a:t>
            </a:r>
          </a:p>
          <a:p>
            <a:pPr marL="170178" indent="-170178">
              <a:buFont typeface="Arial" pitchFamily="34" charset="0"/>
              <a:buChar char="•"/>
            </a:pPr>
            <a:endParaRPr lang="hu-HU" baseline="0" dirty="0" smtClean="0"/>
          </a:p>
          <a:p>
            <a:r>
              <a:rPr lang="hu-HU" baseline="0" dirty="0" smtClean="0"/>
              <a:t>Amire még szükség van:</a:t>
            </a:r>
          </a:p>
          <a:p>
            <a:pPr marL="170178" indent="-170178">
              <a:buFont typeface="Arial" pitchFamily="34" charset="0"/>
              <a:buChar char="•"/>
            </a:pPr>
            <a:r>
              <a:rPr lang="hu-HU" baseline="0" dirty="0" smtClean="0"/>
              <a:t>A valós szükségletekre épülő informatikai eszközfejlesztés</a:t>
            </a:r>
          </a:p>
          <a:p>
            <a:pPr marL="170178" indent="-170178">
              <a:buFont typeface="Arial" pitchFamily="34" charset="0"/>
              <a:buChar char="•"/>
            </a:pPr>
            <a:r>
              <a:rPr lang="hu-HU" baseline="0" dirty="0" smtClean="0"/>
              <a:t>Hálózatépítés, WIFI pontok kiépítése (2016 év végére végzünk)</a:t>
            </a:r>
          </a:p>
          <a:p>
            <a:endParaRPr lang="hu-HU" baseline="0" dirty="0" smtClean="0"/>
          </a:p>
          <a:p>
            <a:pPr marL="170178" indent="-170178">
              <a:buFont typeface="Arial" pitchFamily="34" charset="0"/>
              <a:buChar char="•"/>
            </a:pPr>
            <a:r>
              <a:rPr lang="hu-HU" baseline="0" dirty="0" smtClean="0"/>
              <a:t>Egységes </a:t>
            </a:r>
            <a:r>
              <a:rPr lang="hu-HU" baseline="0" dirty="0" err="1" smtClean="0"/>
              <a:t>tanügyigazgatási</a:t>
            </a:r>
            <a:r>
              <a:rPr lang="hu-HU" baseline="0" dirty="0" smtClean="0"/>
              <a:t> rendszer: jelenleg a fejlesztés elkezdődött. Bevezetni azonban csak a kész rendszert fogjuk. Ebben az évben egy-két intézmény segítségével fogjuk csak tesztelni a rendszert.  Aki eddig használt e-naplót, a tavalyi évhez hasonlóan használhatja. Az </a:t>
            </a:r>
            <a:r>
              <a:rPr lang="hu-HU" baseline="0" dirty="0" err="1" smtClean="0"/>
              <a:t>Educatio</a:t>
            </a:r>
            <a:r>
              <a:rPr lang="hu-HU" baseline="0" dirty="0" smtClean="0"/>
              <a:t> támogatásával ingyenesen elérhető </a:t>
            </a:r>
            <a:r>
              <a:rPr lang="hu-HU" baseline="0" dirty="0" err="1" smtClean="0"/>
              <a:t>tanügyigazgatási</a:t>
            </a:r>
            <a:r>
              <a:rPr lang="hu-HU" baseline="0" dirty="0" smtClean="0"/>
              <a:t> rendszer idén is elérhető és használható lesz.</a:t>
            </a:r>
          </a:p>
          <a:p>
            <a:pPr marL="170178" indent="-170178">
              <a:buFont typeface="Arial" pitchFamily="34" charset="0"/>
              <a:buChar char="•"/>
            </a:pPr>
            <a:r>
              <a:rPr lang="hu-HU" baseline="0" dirty="0" smtClean="0"/>
              <a:t>Oktatási Anyakönyv fejlesztése elindul: lehetőséget teremt az adminisztrációs terhek csökkentésére</a:t>
            </a:r>
          </a:p>
          <a:p>
            <a:pPr marL="170178" indent="-170178">
              <a:buFont typeface="Arial" pitchFamily="34" charset="0"/>
              <a:buChar char="•"/>
            </a:pPr>
            <a:r>
              <a:rPr lang="hu-HU" baseline="0" dirty="0" smtClean="0"/>
              <a:t>Területi hátrányok leküzdése érdekében forrás koncentráció szükséges: iskolaközpontok kialakítása a javaslatunk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236A1B-4BD8-4E9F-93D1-7A5502410691}" type="slidenum">
              <a:rPr lang="hu-HU" smtClean="0"/>
              <a:t>29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5042118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Diakép hely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Jegyzetek hely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hu-HU" altLang="hu-HU" dirty="0" smtClean="0"/>
          </a:p>
        </p:txBody>
      </p:sp>
      <p:sp>
        <p:nvSpPr>
          <p:cNvPr id="56324" name="Dia számának hely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9355" indent="-2882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52853" indent="-23057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13994" indent="-23057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75135" indent="-23057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36276" indent="-23057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97417" indent="-23057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58558" indent="-23057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919699" indent="-23057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AEC8E5A8-24E1-408A-9689-BDC2B8547345}" type="slidenum">
              <a:rPr lang="hu-HU" altLang="hu-HU" smtClean="0">
                <a:cs typeface="Arial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hu-HU" altLang="hu-HU" dirty="0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530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50531" name="Notes Placeholder 2"/>
          <p:cNvSpPr>
            <a:spLocks noGrp="1"/>
          </p:cNvSpPr>
          <p:nvPr>
            <p:ph type="body" idx="1"/>
          </p:nvPr>
        </p:nvSpPr>
        <p:spPr>
          <a:xfrm>
            <a:off x="551639" y="5341522"/>
            <a:ext cx="5801655" cy="246796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1"/>
            <a:endParaRPr lang="en-US" altLang="hu-HU" smtClean="0"/>
          </a:p>
        </p:txBody>
      </p:sp>
      <p:sp>
        <p:nvSpPr>
          <p:cNvPr id="150532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856739" y="9442153"/>
            <a:ext cx="2950475" cy="497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1pPr>
            <a:lvl2pPr marL="749355" indent="-288213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2pPr>
            <a:lvl3pPr marL="1152853" indent="-230571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3pPr>
            <a:lvl4pPr marL="1613994" indent="-230571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4pPr>
            <a:lvl5pPr marL="2075135" indent="-230571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5pPr>
            <a:lvl6pPr marL="2536276" indent="-230571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6pPr>
            <a:lvl7pPr marL="2997417" indent="-230571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7pPr>
            <a:lvl8pPr marL="3458558" indent="-230571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8pPr>
            <a:lvl9pPr marL="3919699" indent="-230571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eaLnBrk="1"/>
            <a:fld id="{F9E7AE48-A130-44E1-BF02-DA33F8191156}" type="slidenum">
              <a:rPr lang="en-US" altLang="hu-HU"/>
              <a:pPr eaLnBrk="1"/>
              <a:t>7</a:t>
            </a:fld>
            <a:endParaRPr lang="en-US" altLang="hu-H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Tekintettel arra, hogy a szakképzést és a nemzetgazdaságot közös érdekek vezérlik, ezért kiemelten fontos e két terület kölcsönös felelősségen alapuló feladatmegosztása, illetve a gazdaságban és a különböző ágazatokban tapasztaltak folyamatos megosztása, a vállalati igények megfogalmazása és eljuttatása a szakképzés további szereplőinek. </a:t>
            </a:r>
          </a:p>
          <a:p>
            <a:r>
              <a:rPr lang="hu-HU" dirty="0"/>
              <a:t>Ezen együttműködés nélkül elképzelhetetlen a szakképzés tényleges, a valós munkaerő-piaci és gazdasági igényeknek megfelelő formálása és folyamatos fejlesztése.</a:t>
            </a:r>
          </a:p>
          <a:p>
            <a:endParaRPr lang="hu-HU" dirty="0" smtClean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963B3C-8E53-4494-B5E8-A4917E0E71F5}" type="slidenum">
              <a:rPr lang="hu-HU" smtClean="0"/>
              <a:t>12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416041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Diakép hely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defRPr/>
            </a:pPr>
            <a:r>
              <a:rPr lang="hu-HU" dirty="0" smtClean="0">
                <a:latin typeface="Times New Roman" pitchFamily="18" charset="0"/>
                <a:cs typeface="Times New Roman" pitchFamily="18" charset="0"/>
              </a:rPr>
              <a:t>A magyar kormány már 2015 januárjában kormányhatározatban fogadta el a szakképzés minőségi átalakítását célzó ún. Szakképzési Koncepciót, amely a Nyilatkozat összes kulcsterületén feladatokat fogalmaz meg. </a:t>
            </a:r>
          </a:p>
          <a:p>
            <a:pPr algn="just">
              <a:defRPr/>
            </a:pPr>
            <a:r>
              <a:rPr lang="hu-HU" dirty="0" smtClean="0">
                <a:latin typeface="Times New Roman" pitchFamily="18" charset="0"/>
                <a:cs typeface="Times New Roman" pitchFamily="18" charset="0"/>
              </a:rPr>
              <a:t>A fejlesztés első lépéseként a szabályozásban kialakításra kerültek a jogi keretek. </a:t>
            </a:r>
          </a:p>
          <a:p>
            <a:pPr algn="just">
              <a:defRPr/>
            </a:pPr>
            <a:endParaRPr lang="hu-HU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hu-HU" altLang="de-DE" b="1" u="sng" dirty="0" smtClean="0">
                <a:latin typeface="Times New Roman" pitchFamily="18" charset="0"/>
                <a:cs typeface="Times New Roman" pitchFamily="18" charset="0"/>
              </a:rPr>
              <a:t>A koncepció szerinti legfőbb intézkedések:</a:t>
            </a:r>
          </a:p>
          <a:p>
            <a:pPr marL="288213" indent="-288213" algn="just">
              <a:buSzPct val="90000"/>
              <a:buFontTx/>
              <a:buAutoNum type="romanUcPeriod"/>
              <a:defRPr/>
            </a:pPr>
            <a:r>
              <a:rPr lang="hu-HU" dirty="0" smtClean="0">
                <a:latin typeface="Times New Roman" pitchFamily="18" charset="0"/>
                <a:cs typeface="Times New Roman" pitchFamily="18" charset="0"/>
              </a:rPr>
              <a:t>A duális szakképzés kiterjesztése: a munkaerőpiacon elvárt, releváns készségek és kompetenciák leghatékonyabb módon munkaalapú tanulás által sajátíthatók el, ezért számos intézkedéssel szolgáltuk a duális képzés kiterjesztését, ösztönzését, a tanulószerződések és a képzésbe bekapcsolódó munkaadók számának növelését</a:t>
            </a:r>
          </a:p>
          <a:p>
            <a:pPr marL="288213" indent="-288213" algn="just">
              <a:buSzPct val="90000"/>
              <a:buFontTx/>
              <a:buAutoNum type="romanUcPeriod"/>
              <a:defRPr/>
            </a:pPr>
            <a:r>
              <a:rPr lang="hu-HU" dirty="0" smtClean="0">
                <a:latin typeface="Times New Roman" pitchFamily="18" charset="0"/>
                <a:cs typeface="Times New Roman" pitchFamily="18" charset="0"/>
              </a:rPr>
              <a:t>A szakképzésbe történő beiskolázás kereteinek tágítása: A szakképzéshez és a szakképesítés megszerzéséhez való hozzáférés előfeltétele az egyének munkaerőpiacra való belépésének és tartós foglakoztatásának. </a:t>
            </a:r>
          </a:p>
          <a:p>
            <a:pPr marL="288213" indent="-288213" algn="just">
              <a:buSzPct val="90000"/>
              <a:buFontTx/>
              <a:buAutoNum type="romanUcPeriod"/>
              <a:defRPr/>
            </a:pPr>
            <a:r>
              <a:rPr lang="hu-HU" dirty="0" smtClean="0">
                <a:latin typeface="Times New Roman" pitchFamily="18" charset="0"/>
                <a:cs typeface="Times New Roman" pitchFamily="18" charset="0"/>
              </a:rPr>
              <a:t>intézményrendszer létrehozása: a szakképzési centrumok - hatékony, a tanulói és munkaadói igényekre mind tartalmi, mind pedig területi szempontból reagálni képes intézményrendszer létrehozása</a:t>
            </a:r>
          </a:p>
          <a:p>
            <a:pPr>
              <a:defRPr/>
            </a:pPr>
            <a:endParaRPr lang="hu-HU" dirty="0"/>
          </a:p>
        </p:txBody>
      </p:sp>
      <p:sp>
        <p:nvSpPr>
          <p:cNvPr id="31747" name="Dia számának hely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9355" indent="-288213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52853" indent="-230571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13994" indent="-230571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75135" indent="-230571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36276" indent="-230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97417" indent="-230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58558" indent="-230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919699" indent="-230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EC784DE-3818-457D-B041-05354670C347}" type="slidenum">
              <a:rPr lang="hu-HU" altLang="hu-HU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hu-HU" altLang="hu-H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Diakép hely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defRPr/>
            </a:pPr>
            <a:r>
              <a:rPr lang="hu-HU" dirty="0" smtClean="0">
                <a:latin typeface="Times New Roman" pitchFamily="18" charset="0"/>
                <a:cs typeface="Times New Roman" pitchFamily="18" charset="0"/>
              </a:rPr>
              <a:t>A magyar kormány már 2015 januárjában kormányhatározatban fogadta el a szakképzés minőségi átalakítását célzó ún. Szakképzési Koncepciót, amely a Nyilatkozat összes kulcsterületén feladatokat fogalmaz meg. </a:t>
            </a:r>
          </a:p>
          <a:p>
            <a:pPr algn="just">
              <a:defRPr/>
            </a:pPr>
            <a:r>
              <a:rPr lang="hu-HU" dirty="0" smtClean="0">
                <a:latin typeface="Times New Roman" pitchFamily="18" charset="0"/>
                <a:cs typeface="Times New Roman" pitchFamily="18" charset="0"/>
              </a:rPr>
              <a:t>A fejlesztés első lépéseként a szabályozásban kialakításra kerültek a jogi keretek. </a:t>
            </a:r>
          </a:p>
          <a:p>
            <a:pPr algn="just">
              <a:defRPr/>
            </a:pPr>
            <a:endParaRPr lang="hu-HU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hu-HU" altLang="de-DE" b="1" u="sng" dirty="0" smtClean="0">
                <a:latin typeface="Times New Roman" pitchFamily="18" charset="0"/>
                <a:cs typeface="Times New Roman" pitchFamily="18" charset="0"/>
              </a:rPr>
              <a:t>A koncepció szerinti legfőbb intézkedések:</a:t>
            </a:r>
          </a:p>
          <a:p>
            <a:pPr marL="288213" indent="-288213" algn="just">
              <a:buSzPct val="90000"/>
              <a:buFontTx/>
              <a:buAutoNum type="romanUcPeriod"/>
              <a:defRPr/>
            </a:pPr>
            <a:r>
              <a:rPr lang="hu-HU" dirty="0" smtClean="0">
                <a:latin typeface="Times New Roman" pitchFamily="18" charset="0"/>
                <a:cs typeface="Times New Roman" pitchFamily="18" charset="0"/>
              </a:rPr>
              <a:t>A duális szakképzés kiterjesztése: a munkaerőpiacon elvárt, releváns készségek és kompetenciák leghatékonyabb módon munkaalapú tanulás által sajátíthatók el, ezért számos intézkedéssel szolgáltuk a duális képzés kiterjesztését, ösztönzését, a tanulószerződések és a képzésbe bekapcsolódó munkaadók számának növelését</a:t>
            </a:r>
          </a:p>
          <a:p>
            <a:pPr marL="288213" indent="-288213" algn="just">
              <a:buSzPct val="90000"/>
              <a:buFontTx/>
              <a:buAutoNum type="romanUcPeriod"/>
              <a:defRPr/>
            </a:pPr>
            <a:r>
              <a:rPr lang="hu-HU" dirty="0" smtClean="0">
                <a:latin typeface="Times New Roman" pitchFamily="18" charset="0"/>
                <a:cs typeface="Times New Roman" pitchFamily="18" charset="0"/>
              </a:rPr>
              <a:t>A szakképzésbe történő beiskolázás kereteinek tágítása: A szakképzéshez és a szakképesítés megszerzéséhez való hozzáférés előfeltétele az egyének munkaerőpiacra való belépésének és tartós foglakoztatásának. </a:t>
            </a:r>
          </a:p>
          <a:p>
            <a:pPr marL="288213" indent="-288213" algn="just">
              <a:buSzPct val="90000"/>
              <a:buFontTx/>
              <a:buAutoNum type="romanUcPeriod"/>
              <a:defRPr/>
            </a:pPr>
            <a:r>
              <a:rPr lang="hu-HU" dirty="0" smtClean="0">
                <a:latin typeface="Times New Roman" pitchFamily="18" charset="0"/>
                <a:cs typeface="Times New Roman" pitchFamily="18" charset="0"/>
              </a:rPr>
              <a:t>intézményrendszer létrehozása: a szakképzési centrumok - hatékony, a tanulói és munkaadói igényekre mind tartalmi, mind pedig területi szempontból reagálni képes intézményrendszer létrehozása</a:t>
            </a:r>
          </a:p>
          <a:p>
            <a:pPr>
              <a:defRPr/>
            </a:pPr>
            <a:endParaRPr lang="hu-HU" dirty="0"/>
          </a:p>
        </p:txBody>
      </p:sp>
      <p:sp>
        <p:nvSpPr>
          <p:cNvPr id="31747" name="Dia számának hely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9355" indent="-288213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52853" indent="-230571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13994" indent="-230571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75135" indent="-230571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36276" indent="-230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97417" indent="-230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58558" indent="-230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919699" indent="-230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EC784DE-3818-457D-B041-05354670C347}" type="slidenum">
              <a:rPr lang="hu-HU" altLang="hu-HU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hu-HU" altLang="hu-H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b="1" dirty="0"/>
              <a:t>Nappali rendszerű oktatás részvételi korhatárának emelése:</a:t>
            </a:r>
            <a:r>
              <a:rPr lang="hu-HU" dirty="0"/>
              <a:t> A nappali rendszerű iskolai képzésben lehetővé tettük a képzésben való részvétel felső korhatárának emelését, így a korábbi – szűknek bizonyult – 21 éves időkorlát 25 évre emelkedett. Ez lehetővé teszi, hogy az általános közismereti képzési szakasz (általános iskola befejezése, érettségi megszerzése) befejezését követően hosszabb időtartam álljon a fiatalok rendelkezésére a szakképzésbe történő bekapcsolódásra, a képzések befejezésére.</a:t>
            </a:r>
          </a:p>
          <a:p>
            <a:r>
              <a:rPr lang="hu-HU" dirty="0"/>
              <a:t>Hatás: többen maradnak vagy térnek vissza az iskolai rendszerű szakképzésbe, megszűnik az eddigi időkorlátok miatt bekövetkező lemorzsolódás.</a:t>
            </a:r>
          </a:p>
          <a:p>
            <a:endParaRPr lang="hu-HU" dirty="0"/>
          </a:p>
          <a:p>
            <a:r>
              <a:rPr lang="hu-HU" b="1" dirty="0"/>
              <a:t>Második szakképesítés ingyenes megszerzése:</a:t>
            </a:r>
            <a:r>
              <a:rPr lang="hu-HU" dirty="0"/>
              <a:t> 2015 szeptemberétől az államilag támogatott első szakképesítés megszerzése mellett a második szakképesítés megszerzése is ingyenessé vált a felnőttoktatás keretében. </a:t>
            </a:r>
          </a:p>
          <a:p>
            <a:r>
              <a:rPr lang="hu-HU" dirty="0"/>
              <a:t>Hatás: a korábbiaknál szélesebb körű állam által támogatott (ingyenes) lehetőséget biztosít a szakmát tanulni kívánók számára, elősegítve ezzel az egész életen át tartó tanulás folyamatának megerősödését. Azok számára nyújt elsősorban ingyenes továbbtanulási lehetőséget, akik nem a felsőoktatásban, hanem a szakképzésben kívánják fejleszteni tudásukat, szakmai ismereteiket. A második szakképesítés ingyenes megszerzési lehetőségének sikerességét mi sem bizonyítja jobban, mint az, hogy a módosítás 2015 nyári hatályba lépését követően már 2015 szeptemberében több mint 10 ezer fő kapcsolódott be a felnőttoktatásba a második szakképesítés megszerzése céljából. </a:t>
            </a:r>
          </a:p>
          <a:p>
            <a:endParaRPr lang="hu-HU" dirty="0"/>
          </a:p>
          <a:p>
            <a:pPr defTabSz="922282">
              <a:defRPr/>
            </a:pPr>
            <a:r>
              <a:rPr lang="hu-HU" b="1" dirty="0">
                <a:latin typeface="Times New Roman" pitchFamily="18" charset="0"/>
                <a:cs typeface="Times New Roman" pitchFamily="18" charset="0"/>
              </a:rPr>
              <a:t>Új tanulási utak: </a:t>
            </a:r>
            <a:r>
              <a:rPr lang="hu-HU" dirty="0">
                <a:latin typeface="Times New Roman" pitchFamily="18" charset="0"/>
                <a:cs typeface="Times New Roman" pitchFamily="18" charset="0"/>
              </a:rPr>
              <a:t>a következő ábrán részletezve</a:t>
            </a:r>
          </a:p>
          <a:p>
            <a:endParaRPr lang="hu-HU" dirty="0"/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963B3C-8E53-4494-B5E8-A4917E0E71F5}" type="slidenum">
              <a:rPr lang="hu-HU" smtClean="0"/>
              <a:t>17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1847205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Diakép hely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8" name="Jegyzetek hely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just">
              <a:spcBef>
                <a:spcPct val="0"/>
              </a:spcBef>
            </a:pPr>
            <a:endParaRPr lang="hu-HU" altLang="hu-HU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699" name="Dia számának hely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9355" indent="-288213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52853" indent="-230571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13994" indent="-230571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75135" indent="-230571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36276" indent="-230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97417" indent="-230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58558" indent="-230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919699" indent="-230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6898FB9-28D4-4226-A526-C7DCF3AC9CAD}" type="slidenum">
              <a:rPr lang="hu-HU" altLang="hu-HU"/>
              <a:pPr fontAlgn="base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hu-HU" altLang="hu-H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Elindult, és folytatódik:</a:t>
            </a:r>
          </a:p>
          <a:p>
            <a:pPr marL="170178" indent="-170178">
              <a:buFont typeface="Arial" pitchFamily="34" charset="0"/>
              <a:buChar char="•"/>
            </a:pPr>
            <a:r>
              <a:rPr lang="hu-HU" dirty="0" smtClean="0"/>
              <a:t>TTT</a:t>
            </a:r>
            <a:r>
              <a:rPr lang="hu-HU" baseline="0" dirty="0" smtClean="0"/>
              <a:t> beruházásokkal</a:t>
            </a:r>
            <a:r>
              <a:rPr lang="hu-HU" dirty="0" smtClean="0"/>
              <a:t> az intézményrendszer </a:t>
            </a:r>
            <a:r>
              <a:rPr lang="hu-HU" dirty="0" err="1" smtClean="0"/>
              <a:t>infra.fejlesztése</a:t>
            </a:r>
            <a:r>
              <a:rPr lang="hu-HU" dirty="0" smtClean="0"/>
              <a:t>.</a:t>
            </a:r>
          </a:p>
          <a:p>
            <a:pPr marL="170178" indent="-170178">
              <a:buFont typeface="Arial" pitchFamily="34" charset="0"/>
              <a:buChar char="•"/>
            </a:pPr>
            <a:r>
              <a:rPr lang="hu-HU" dirty="0" smtClean="0"/>
              <a:t>Informatikai</a:t>
            </a:r>
            <a:r>
              <a:rPr lang="hu-HU" baseline="0" dirty="0" smtClean="0"/>
              <a:t> eszközpark a fejlesztése</a:t>
            </a:r>
          </a:p>
          <a:p>
            <a:pPr marL="170178" indent="-170178">
              <a:buFont typeface="Arial" pitchFamily="34" charset="0"/>
              <a:buChar char="•"/>
            </a:pPr>
            <a:endParaRPr lang="hu-HU" baseline="0" dirty="0" smtClean="0"/>
          </a:p>
          <a:p>
            <a:r>
              <a:rPr lang="hu-HU" baseline="0" dirty="0" smtClean="0"/>
              <a:t>Amire még szükség van:</a:t>
            </a:r>
          </a:p>
          <a:p>
            <a:pPr marL="170178" indent="-170178">
              <a:buFont typeface="Arial" pitchFamily="34" charset="0"/>
              <a:buChar char="•"/>
            </a:pPr>
            <a:r>
              <a:rPr lang="hu-HU" baseline="0" dirty="0" smtClean="0"/>
              <a:t>A valós szükségletekre épülő informatikai eszközfejlesztés</a:t>
            </a:r>
          </a:p>
          <a:p>
            <a:pPr marL="170178" indent="-170178">
              <a:buFont typeface="Arial" pitchFamily="34" charset="0"/>
              <a:buChar char="•"/>
            </a:pPr>
            <a:r>
              <a:rPr lang="hu-HU" baseline="0" dirty="0" smtClean="0"/>
              <a:t>Hálózatépítés, WIFI pontok kiépítése (2016 év végére végzünk)</a:t>
            </a:r>
          </a:p>
          <a:p>
            <a:endParaRPr lang="hu-HU" baseline="0" dirty="0" smtClean="0"/>
          </a:p>
          <a:p>
            <a:pPr marL="170178" indent="-170178">
              <a:buFont typeface="Arial" pitchFamily="34" charset="0"/>
              <a:buChar char="•"/>
            </a:pPr>
            <a:r>
              <a:rPr lang="hu-HU" baseline="0" dirty="0" smtClean="0"/>
              <a:t>Egységes </a:t>
            </a:r>
            <a:r>
              <a:rPr lang="hu-HU" baseline="0" dirty="0" err="1" smtClean="0"/>
              <a:t>tanügyigazgatási</a:t>
            </a:r>
            <a:r>
              <a:rPr lang="hu-HU" baseline="0" dirty="0" smtClean="0"/>
              <a:t> rendszer: jelenleg a fejlesztés elkezdődött. Bevezetni azonban csak a kész rendszert fogjuk. Ebben az évben egy-két intézmény segítségével fogjuk csak tesztelni a rendszert.  Aki eddig használt e-naplót, a tavalyi évhez hasonlóan használhatja. Az </a:t>
            </a:r>
            <a:r>
              <a:rPr lang="hu-HU" baseline="0" dirty="0" err="1" smtClean="0"/>
              <a:t>Educatio</a:t>
            </a:r>
            <a:r>
              <a:rPr lang="hu-HU" baseline="0" dirty="0" smtClean="0"/>
              <a:t> támogatásával ingyenesen elérhető </a:t>
            </a:r>
            <a:r>
              <a:rPr lang="hu-HU" baseline="0" dirty="0" err="1" smtClean="0"/>
              <a:t>tanügyigazgatási</a:t>
            </a:r>
            <a:r>
              <a:rPr lang="hu-HU" baseline="0" dirty="0" smtClean="0"/>
              <a:t> rendszer idén is elérhető és használható lesz.</a:t>
            </a:r>
          </a:p>
          <a:p>
            <a:pPr marL="170178" indent="-170178">
              <a:buFont typeface="Arial" pitchFamily="34" charset="0"/>
              <a:buChar char="•"/>
            </a:pPr>
            <a:r>
              <a:rPr lang="hu-HU" baseline="0" dirty="0" smtClean="0"/>
              <a:t>Oktatási Anyakönyv fejlesztése elindul: lehetőséget teremt az adminisztrációs terhek csökkentésére</a:t>
            </a:r>
          </a:p>
          <a:p>
            <a:pPr marL="170178" indent="-170178">
              <a:buFont typeface="Arial" pitchFamily="34" charset="0"/>
              <a:buChar char="•"/>
            </a:pPr>
            <a:r>
              <a:rPr lang="hu-HU" baseline="0" dirty="0" smtClean="0"/>
              <a:t>Területi hátrányok leküzdése érdekében forrás koncentráció szükséges: iskolaközpontok kialakítása a javaslatunk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236A1B-4BD8-4E9F-93D1-7A5502410691}" type="slidenum">
              <a:rPr lang="hu-HU" smtClean="0"/>
              <a:t>26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5042118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0178" indent="-170178">
              <a:buFont typeface="Arial" pitchFamily="34" charset="0"/>
              <a:buChar char="•"/>
            </a:pPr>
            <a:r>
              <a:rPr lang="hu-HU" dirty="0" smtClean="0"/>
              <a:t>A tanév rendjébe beépítésre kerülő </a:t>
            </a:r>
            <a:r>
              <a:rPr lang="hu-HU" b="1" dirty="0" smtClean="0"/>
              <a:t>témahetek </a:t>
            </a:r>
            <a:r>
              <a:rPr lang="hu-HU" dirty="0" smtClean="0"/>
              <a:t>pedig módszertanilag új elemet hoznak a tanítás világába. Ez olyan </a:t>
            </a:r>
            <a:r>
              <a:rPr lang="hu-HU" b="1" dirty="0" smtClean="0"/>
              <a:t>új tanulásszervezési eljárást</a:t>
            </a:r>
            <a:r>
              <a:rPr lang="hu-HU" dirty="0" smtClean="0"/>
              <a:t> igényel, amelyekhez az NTP jól illeszkedik. Indirekt úton, fokozottabb gyakorlati ismeretekkel, egy-egy téma köré csoportosítva az átadni kívánt tudást.</a:t>
            </a:r>
          </a:p>
          <a:p>
            <a:pPr marL="170178" indent="-170178">
              <a:buFont typeface="Arial" pitchFamily="34" charset="0"/>
              <a:buChar char="•"/>
            </a:pPr>
            <a:r>
              <a:rPr lang="hu-HU" dirty="0" smtClean="0"/>
              <a:t>Témahét </a:t>
            </a:r>
            <a:r>
              <a:rPr lang="hu-HU" dirty="0"/>
              <a:t>pilot: pénzügyi tudatosság hete (tavalyihoz hasonlóan lesz márciusban), kiegészül: digitális héttel (most dolgozunk rajta)</a:t>
            </a:r>
          </a:p>
          <a:p>
            <a:pPr marL="170178" indent="-170178">
              <a:buFont typeface="Arial" pitchFamily="34" charset="0"/>
              <a:buChar char="•"/>
            </a:pPr>
            <a:r>
              <a:rPr lang="hu-HU" dirty="0"/>
              <a:t>Nemzeti Táboroztatási programhetei: nyári időszakra készítjük elő (2 – 3 hét tanév után –június, július) </a:t>
            </a:r>
          </a:p>
          <a:p>
            <a:pPr marL="170178" indent="-170178">
              <a:buFont typeface="Arial" pitchFamily="34" charset="0"/>
              <a:buChar char="•"/>
            </a:pPr>
            <a:r>
              <a:rPr lang="hu-HU" dirty="0"/>
              <a:t>Módszertani csomagot ajánlunk, amelynek központjában a KIP módszer áll, de függetlenül tőle pl. a </a:t>
            </a:r>
            <a:r>
              <a:rPr lang="hu-HU" dirty="0" err="1"/>
              <a:t>Geomatech</a:t>
            </a:r>
            <a:r>
              <a:rPr lang="hu-HU" dirty="0"/>
              <a:t>, logikai játékok, digitális tudás beépítése a pedagógiai gyakorlatba a célunk.</a:t>
            </a:r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236A1B-4BD8-4E9F-93D1-7A5502410691}" type="slidenum">
              <a:rPr lang="hu-HU" smtClean="0"/>
              <a:t>27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6359163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" Type="http://schemas.openxmlformats.org/officeDocument/2006/relationships/tags" Target="../tags/tag2.xml"/><Relationship Id="rId21" Type="http://schemas.openxmlformats.org/officeDocument/2006/relationships/image" Target="../media/image4.emf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10" Type="http://schemas.openxmlformats.org/officeDocument/2006/relationships/tags" Target="../tags/tag9.xml"/><Relationship Id="rId19" Type="http://schemas.openxmlformats.org/officeDocument/2006/relationships/slideMaster" Target="../slideMasters/slideMaster2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l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178759"/>
            <a:ext cx="7772400" cy="1470025"/>
          </a:xfrm>
        </p:spPr>
        <p:txBody>
          <a:bodyPr>
            <a:normAutofit/>
          </a:bodyPr>
          <a:lstStyle>
            <a:lvl1pPr>
              <a:defRPr sz="3000">
                <a:solidFill>
                  <a:srgbClr val="A69765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hu-H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786322"/>
            <a:ext cx="6400800" cy="1357298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hu-HU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DB52FD-4C42-495C-9A46-5D441D9CCF96}" type="datetimeFigureOut">
              <a:rPr lang="hu-H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.06.28.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40525" y="6089650"/>
            <a:ext cx="2133600" cy="365125"/>
          </a:xfrm>
        </p:spPr>
        <p:txBody>
          <a:bodyPr/>
          <a:lstStyle>
            <a:lvl1pPr>
              <a:defRPr sz="1000">
                <a:solidFill>
                  <a:srgbClr val="A69765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fld id="{9A6A4BA4-8B20-4209-A028-EC0DC84BA858}" type="slidenum">
              <a:rPr lang="hu-HU"/>
              <a:pPr>
                <a:defRPr/>
              </a:pPr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0642922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Kép képaláírássa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gyenes összekötő 12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hu-HU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6" name="Háromszög 5"/>
          <p:cNvSpPr>
            <a:spLocks noChangeAspect="1"/>
          </p:cNvSpPr>
          <p:nvPr/>
        </p:nvSpPr>
        <p:spPr>
          <a:xfrm rot="5400000">
            <a:off x="419100" y="6467475"/>
            <a:ext cx="190500" cy="1206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457200" y="500063"/>
            <a:ext cx="182563" cy="685800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500856"/>
            <a:ext cx="8229600" cy="674688"/>
          </a:xfrm>
          <a:ln>
            <a:solidFill>
              <a:schemeClr val="accent1"/>
            </a:solidFill>
          </a:ln>
        </p:spPr>
        <p:txBody>
          <a:bodyPr lIns="274320" anchor="ctr"/>
          <a:lstStyle>
            <a:lvl1pPr algn="r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457200" y="1905000"/>
            <a:ext cx="8229600" cy="4270248"/>
          </a:xfrm>
          <a:solidFill>
            <a:schemeClr val="tx1">
              <a:shade val="50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None/>
              <a:defRPr sz="3200"/>
            </a:lvl1pPr>
          </a:lstStyle>
          <a:p>
            <a:pPr lvl="0"/>
            <a:r>
              <a:rPr lang="hu-HU" noProof="0" smtClean="0"/>
              <a:t>Kép beszúrásához kattintson az ikonra</a:t>
            </a:r>
            <a:endParaRPr lang="en-US" noProof="0" dirty="0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457200" y="1219200"/>
            <a:ext cx="8229600" cy="533400"/>
          </a:xfrm>
        </p:spPr>
        <p:txBody>
          <a:bodyPr anchor="ctr"/>
          <a:lstStyle>
            <a:lvl1pPr marL="0" indent="0" algn="l">
              <a:buFontTx/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8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DDE9EC"/>
                </a:solidFill>
              </a:defRPr>
            </a:lvl1pPr>
          </a:lstStyle>
          <a:p>
            <a:pPr>
              <a:defRPr/>
            </a:pPr>
            <a:fld id="{CAE23A10-D36C-4345-AE8D-FF63B03D14BF}" type="datetimeFigureOut">
              <a:rPr lang="hu-HU"/>
              <a:pPr>
                <a:defRPr/>
              </a:pPr>
              <a:t>2017.06.28.</a:t>
            </a:fld>
            <a:endParaRPr lang="hu-HU"/>
          </a:p>
        </p:txBody>
      </p:sp>
      <p:sp>
        <p:nvSpPr>
          <p:cNvPr id="9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DDE9EC"/>
                </a:solidFill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10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DDE9EC"/>
                </a:solidFill>
              </a:defRPr>
            </a:lvl1pPr>
          </a:lstStyle>
          <a:p>
            <a:pPr>
              <a:defRPr/>
            </a:pPr>
            <a:fld id="{4FA4D1C4-6931-4E33-BD72-5769576B755C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697046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  <p:sp>
        <p:nvSpPr>
          <p:cNvPr id="4" name="Dátum helye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0D039FCC-3F6F-48A6-8BFB-F5017F6FB5D7}" type="datetimeFigureOut">
              <a:rPr lang="hu-HU"/>
              <a:pPr>
                <a:defRPr/>
              </a:pPr>
              <a:t>2017.06.28.</a:t>
            </a:fld>
            <a:endParaRPr lang="hu-HU"/>
          </a:p>
        </p:txBody>
      </p:sp>
      <p:sp>
        <p:nvSpPr>
          <p:cNvPr id="5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Dia számának helye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B0FCBC7-95A5-4AE1-8AD7-59167FA80C5D}" type="slidenum">
              <a:rPr lang="hu-HU"/>
              <a:pPr>
                <a:defRPr/>
              </a:pPr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247662628"/>
      </p:ext>
    </p:extLst>
  </p:cSld>
  <p:clrMapOvr>
    <a:masterClrMapping/>
  </p:clrMapOvr>
  <p:transition spd="med"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gyenes összekötő 12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hu-H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Háromszög 4"/>
          <p:cNvSpPr>
            <a:spLocks noChangeAspect="1"/>
          </p:cNvSpPr>
          <p:nvPr/>
        </p:nvSpPr>
        <p:spPr>
          <a:xfrm rot="5400000">
            <a:off x="419100" y="6467475"/>
            <a:ext cx="190500" cy="1206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Egyenes összekötő 15"/>
          <p:cNvSpPr>
            <a:spLocks noChangeShapeType="1"/>
          </p:cNvSpPr>
          <p:nvPr/>
        </p:nvSpPr>
        <p:spPr bwMode="auto">
          <a:xfrm rot="5400000">
            <a:off x="3630612" y="3201988"/>
            <a:ext cx="5851525" cy="0"/>
          </a:xfrm>
          <a:prstGeom prst="line">
            <a:avLst/>
          </a:prstGeom>
          <a:noFill/>
          <a:ln w="9525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hu-H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  <p:sp>
        <p:nvSpPr>
          <p:cNvPr id="7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BAC9B6AA-D605-4733-9409-3C466C231976}" type="datetimeFigureOut">
              <a:rPr lang="hu-HU"/>
              <a:pPr>
                <a:defRPr/>
              </a:pPr>
              <a:t>2017.06.28.</a:t>
            </a:fld>
            <a:endParaRPr lang="hu-HU"/>
          </a:p>
        </p:txBody>
      </p:sp>
      <p:sp>
        <p:nvSpPr>
          <p:cNvPr id="8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9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B29E6B7A-4C64-43DE-951E-7EA4004204ED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85998589"/>
      </p:ext>
    </p:extLst>
  </p:cSld>
  <p:clrMapOvr>
    <a:masterClrMapping/>
  </p:clrMapOvr>
  <p:transition spd="med">
    <p:wipe dir="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2128" cy="1620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2128" cy="1620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62128" cy="16205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/>
        </p:nvSpPr>
        <p:spPr bwMode="gray">
          <a:xfrm rot="5400000">
            <a:off x="7971402" y="1981092"/>
            <a:ext cx="220252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808080"/>
                </a:solidFill>
                <a:latin typeface="Arial"/>
                <a:cs typeface="+mn-cs"/>
              </a:rPr>
              <a:t>Last Modified 2/7/2017 12:48 AM Central Europe Standard Time</a:t>
            </a:r>
            <a:endParaRPr lang="en-US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gray">
          <a:xfrm rot="5400000">
            <a:off x="8080102" y="4197911"/>
            <a:ext cx="1985125" cy="940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808080"/>
                </a:solidFill>
                <a:latin typeface="Arial"/>
                <a:cs typeface="+mn-cs"/>
              </a:rPr>
              <a:t>Printed 1/5/2017 9:20 PM Central Europe Standard Time</a:t>
            </a:r>
            <a:endParaRPr lang="en-US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1. On-page tracker" hidden="1"/>
          <p:cNvSpPr>
            <a:spLocks noChangeArrowheads="1"/>
          </p:cNvSpPr>
          <p:nvPr/>
        </p:nvSpPr>
        <p:spPr bwMode="gray">
          <a:xfrm>
            <a:off x="121597" y="77784"/>
            <a:ext cx="500974" cy="124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>
              <a:defRPr/>
            </a:pPr>
            <a:r>
              <a:rPr lang="en-US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21596" y="565558"/>
            <a:ext cx="8793804" cy="2511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</a:p>
        </p:txBody>
      </p:sp>
      <p:grpSp>
        <p:nvGrpSpPr>
          <p:cNvPr id="9" name="Slide Elements" hidden="1"/>
          <p:cNvGrpSpPr>
            <a:grpSpLocks/>
          </p:cNvGrpSpPr>
          <p:nvPr/>
        </p:nvGrpSpPr>
        <p:grpSpPr bwMode="auto">
          <a:xfrm>
            <a:off x="121596" y="6433426"/>
            <a:ext cx="8793804" cy="332205"/>
            <a:chOff x="119063" y="6305945"/>
            <a:chExt cx="8618537" cy="325438"/>
          </a:xfrm>
        </p:grpSpPr>
        <p:sp>
          <p:nvSpPr>
            <p:cNvPr id="10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  <a:cs typeface="+mn-cs"/>
                </a:rPr>
                <a:t>1 Footnote</a:t>
              </a:r>
            </a:p>
          </p:txBody>
        </p:sp>
        <p:sp>
          <p:nvSpPr>
            <p:cNvPr id="11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199592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604838" indent="-604838" defTabSz="890588" eaLnBrk="0">
                <a:tabLst>
                  <a:tab pos="625475" algn="l"/>
                </a:tabLs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1pPr>
              <a:lvl2pPr marL="742950" indent="-285750" defTabSz="890588" eaLnBrk="0">
                <a:tabLst>
                  <a:tab pos="625475" algn="l"/>
                </a:tabLs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2pPr>
              <a:lvl3pPr marL="1143000" indent="-228600" defTabSz="890588" eaLnBrk="0">
                <a:tabLst>
                  <a:tab pos="625475" algn="l"/>
                </a:tabLs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3pPr>
              <a:lvl4pPr marL="1600200" indent="-228600" defTabSz="890588" eaLnBrk="0">
                <a:tabLst>
                  <a:tab pos="625475" algn="l"/>
                </a:tabLs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4pPr>
              <a:lvl5pPr marL="2057400" indent="-228600" defTabSz="890588" eaLnBrk="0">
                <a:tabLst>
                  <a:tab pos="625475" algn="l"/>
                </a:tabLs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5pPr>
              <a:lvl6pPr marL="25146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25475" algn="l"/>
                </a:tabLs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6pPr>
              <a:lvl7pPr marL="29718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25475" algn="l"/>
                </a:tabLs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7pPr>
              <a:lvl8pPr marL="34290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25475" algn="l"/>
                </a:tabLs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8pPr>
              <a:lvl9pPr marL="38862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25475" algn="l"/>
                </a:tabLs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hu-HU" sz="800" smtClean="0">
                  <a:solidFill>
                    <a:srgbClr val="80808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81847" y="1283444"/>
            <a:ext cx="4351506" cy="518563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1pPr>
              <a:lvl2pPr marL="742950" indent="-285750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2pPr>
              <a:lvl3pPr marL="1143000" indent="-228600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3pPr>
              <a:lvl4pPr marL="1600200" indent="-228600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4pPr>
              <a:lvl5pPr marL="2057400" indent="-228600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hu-HU" b="1" smtClean="0"/>
                <a:t>Title</a:t>
              </a:r>
            </a:p>
            <a:p>
              <a:pPr eaLnBrk="1" hangingPunct="1">
                <a:defRPr/>
              </a:pPr>
              <a:r>
                <a:rPr lang="en-US" altLang="hu-HU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5" name="McKSticker" hidden="1"/>
          <p:cNvGrpSpPr>
            <a:grpSpLocks/>
          </p:cNvGrpSpPr>
          <p:nvPr/>
        </p:nvGrpSpPr>
        <p:grpSpPr bwMode="auto">
          <a:xfrm>
            <a:off x="8432261" y="291692"/>
            <a:ext cx="483140" cy="153949"/>
            <a:chOff x="8267440" y="285750"/>
            <a:chExt cx="473335" cy="150811"/>
          </a:xfrm>
        </p:grpSpPr>
        <p:sp>
          <p:nvSpPr>
            <p:cNvPr id="16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1pPr>
              <a:lvl2pPr marL="742950" indent="-28575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2pPr>
              <a:lvl3pPr marL="11430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3pPr>
              <a:lvl4pPr marL="16002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4pPr>
              <a:lvl5pPr marL="20574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5pPr>
              <a:lvl6pPr marL="25146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6pPr>
              <a:lvl7pPr marL="29718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7pPr>
              <a:lvl8pPr marL="34290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8pPr>
              <a:lvl9pPr marL="38862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9pPr>
            </a:lstStyle>
            <a:p>
              <a:pPr algn="r" eaLnBrk="1" hangingPunct="1">
                <a:buClr>
                  <a:srgbClr val="002960"/>
                </a:buClr>
                <a:defRPr/>
              </a:pPr>
              <a:r>
                <a:rPr lang="en-US" altLang="hu-HU" sz="800" smtClean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17" name="AutoShape 31"/>
            <p:cNvCxnSpPr>
              <a:cxnSpLocks noChangeShapeType="1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AutoShape 32"/>
            <p:cNvCxnSpPr>
              <a:cxnSpLocks noChangeShapeType="1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SlideBottomBar" hidden="1"/>
          <p:cNvSpPr/>
          <p:nvPr/>
        </p:nvSpPr>
        <p:spPr>
          <a:xfrm>
            <a:off x="8681937" y="6456114"/>
            <a:ext cx="47017" cy="1264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790" tIns="46403" rIns="92790" bIns="46403" anchor="ctr"/>
          <a:lstStyle/>
          <a:p>
            <a:pPr algn="ctr" eaLnBrk="1" hangingPunct="1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0" name="doc id" hidden="1"/>
          <p:cNvSpPr>
            <a:spLocks noChangeArrowheads="1"/>
          </p:cNvSpPr>
          <p:nvPr/>
        </p:nvSpPr>
        <p:spPr bwMode="auto">
          <a:xfrm>
            <a:off x="8247435" y="51856"/>
            <a:ext cx="669587" cy="124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0588" eaLnBrk="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1pPr>
            <a:lvl2pPr marL="742950" indent="-285750" defTabSz="890588" eaLnBrk="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 defTabSz="890588" eaLnBrk="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 defTabSz="890588" eaLnBrk="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 defTabSz="890588" eaLnBrk="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algn="r" eaLnBrk="1" hangingPunct="1">
              <a:defRPr/>
            </a:pPr>
            <a:endParaRPr lang="en-US" altLang="hu-HU" sz="800" smtClean="0">
              <a:solidFill>
                <a:srgbClr val="808080"/>
              </a:solidFill>
            </a:endParaRPr>
          </a:p>
        </p:txBody>
      </p:sp>
      <p:grpSp>
        <p:nvGrpSpPr>
          <p:cNvPr id="21" name="LegendBoxes" hidden="1"/>
          <p:cNvGrpSpPr>
            <a:grpSpLocks/>
          </p:cNvGrpSpPr>
          <p:nvPr/>
        </p:nvGrpSpPr>
        <p:grpSpPr bwMode="auto">
          <a:xfrm>
            <a:off x="8075580" y="285210"/>
            <a:ext cx="779834" cy="1017681"/>
            <a:chOff x="7835905" y="279400"/>
            <a:chExt cx="763755" cy="997467"/>
          </a:xfrm>
        </p:grpSpPr>
        <p:sp>
          <p:nvSpPr>
            <p:cNvPr id="22" name="RectangleLegend1"/>
            <p:cNvSpPr>
              <a:spLocks noChangeArrowheads="1"/>
            </p:cNvSpPr>
            <p:nvPr/>
          </p:nvSpPr>
          <p:spPr bwMode="gray">
            <a:xfrm>
              <a:off x="7835905" y="290519"/>
              <a:ext cx="165136" cy="16042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US" dirty="0">
                <a:latin typeface="Arial"/>
                <a:cs typeface="+mn-cs"/>
              </a:endParaRPr>
            </a:p>
          </p:txBody>
        </p:sp>
        <p:sp>
          <p:nvSpPr>
            <p:cNvPr id="23" name="RectangleLegend2"/>
            <p:cNvSpPr>
              <a:spLocks noChangeArrowheads="1"/>
            </p:cNvSpPr>
            <p:nvPr/>
          </p:nvSpPr>
          <p:spPr bwMode="gray">
            <a:xfrm>
              <a:off x="7835905" y="560534"/>
              <a:ext cx="165136" cy="16042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US" dirty="0">
                <a:latin typeface="Arial"/>
                <a:cs typeface="+mn-cs"/>
              </a:endParaRPr>
            </a:p>
          </p:txBody>
        </p:sp>
        <p:sp>
          <p:nvSpPr>
            <p:cNvPr id="24" name="RectangleLegend3"/>
            <p:cNvSpPr>
              <a:spLocks noChangeArrowheads="1"/>
            </p:cNvSpPr>
            <p:nvPr/>
          </p:nvSpPr>
          <p:spPr bwMode="gray">
            <a:xfrm>
              <a:off x="7835905" y="832136"/>
              <a:ext cx="165136" cy="160421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US" dirty="0">
                <a:latin typeface="Arial"/>
                <a:cs typeface="+mn-cs"/>
              </a:endParaRPr>
            </a:p>
          </p:txBody>
        </p:sp>
        <p:sp>
          <p:nvSpPr>
            <p:cNvPr id="25" name="RectangleLegend4"/>
            <p:cNvSpPr>
              <a:spLocks noChangeArrowheads="1"/>
            </p:cNvSpPr>
            <p:nvPr/>
          </p:nvSpPr>
          <p:spPr bwMode="gray">
            <a:xfrm>
              <a:off x="7835905" y="1103740"/>
              <a:ext cx="165136" cy="160420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>
                <a:defRPr/>
              </a:pPr>
              <a:endParaRPr lang="en-US" dirty="0">
                <a:latin typeface="Arial"/>
                <a:cs typeface="+mn-cs"/>
              </a:endParaRPr>
            </a:p>
          </p:txBody>
        </p:sp>
        <p:sp>
          <p:nvSpPr>
            <p:cNvPr id="26" name="Legend1"/>
            <p:cNvSpPr>
              <a:spLocks noChangeArrowheads="1"/>
            </p:cNvSpPr>
            <p:nvPr/>
          </p:nvSpPr>
          <p:spPr bwMode="gray">
            <a:xfrm>
              <a:off x="8089961" y="279400"/>
              <a:ext cx="509699" cy="1842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1pPr>
              <a:lvl2pPr marL="742950" indent="-28575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2pPr>
              <a:lvl3pPr marL="11430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3pPr>
              <a:lvl4pPr marL="16002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4pPr>
              <a:lvl5pPr marL="20574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5pPr>
              <a:lvl6pPr marL="25146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6pPr>
              <a:lvl7pPr marL="29718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7pPr>
              <a:lvl8pPr marL="34290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8pPr>
              <a:lvl9pPr marL="38862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hu-HU" sz="1200" smtClean="0"/>
                <a:t>Legend</a:t>
              </a: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gray">
            <a:xfrm>
              <a:off x="8089961" y="549415"/>
              <a:ext cx="509699" cy="1842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1pPr>
              <a:lvl2pPr marL="742950" indent="-28575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2pPr>
              <a:lvl3pPr marL="11430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3pPr>
              <a:lvl4pPr marL="16002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4pPr>
              <a:lvl5pPr marL="20574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5pPr>
              <a:lvl6pPr marL="25146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6pPr>
              <a:lvl7pPr marL="29718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7pPr>
              <a:lvl8pPr marL="34290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8pPr>
              <a:lvl9pPr marL="38862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hu-HU" sz="1200" smtClean="0"/>
                <a:t>Legend</a:t>
              </a: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gray">
            <a:xfrm>
              <a:off x="8089961" y="821019"/>
              <a:ext cx="509699" cy="1842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1pPr>
              <a:lvl2pPr marL="742950" indent="-28575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2pPr>
              <a:lvl3pPr marL="11430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3pPr>
              <a:lvl4pPr marL="16002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4pPr>
              <a:lvl5pPr marL="20574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5pPr>
              <a:lvl6pPr marL="25146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6pPr>
              <a:lvl7pPr marL="29718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7pPr>
              <a:lvl8pPr marL="34290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8pPr>
              <a:lvl9pPr marL="38862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hu-HU" sz="1200" smtClean="0"/>
                <a:t>Legend</a:t>
              </a:r>
            </a:p>
          </p:txBody>
        </p:sp>
        <p:sp>
          <p:nvSpPr>
            <p:cNvPr id="29" name="Legend4"/>
            <p:cNvSpPr>
              <a:spLocks noChangeArrowheads="1"/>
            </p:cNvSpPr>
            <p:nvPr/>
          </p:nvSpPr>
          <p:spPr bwMode="gray">
            <a:xfrm>
              <a:off x="8089961" y="1092622"/>
              <a:ext cx="509699" cy="1842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1pPr>
              <a:lvl2pPr marL="742950" indent="-28575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2pPr>
              <a:lvl3pPr marL="11430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3pPr>
              <a:lvl4pPr marL="16002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4pPr>
              <a:lvl5pPr marL="20574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5pPr>
              <a:lvl6pPr marL="25146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6pPr>
              <a:lvl7pPr marL="29718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7pPr>
              <a:lvl8pPr marL="34290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8pPr>
              <a:lvl9pPr marL="38862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hu-HU" sz="1200" smtClean="0"/>
                <a:t>Legend</a:t>
              </a:r>
            </a:p>
          </p:txBody>
        </p:sp>
      </p:grpSp>
      <p:grpSp>
        <p:nvGrpSpPr>
          <p:cNvPr id="30" name="LegendLines" hidden="1"/>
          <p:cNvGrpSpPr>
            <a:grpSpLocks/>
          </p:cNvGrpSpPr>
          <p:nvPr/>
        </p:nvGrpSpPr>
        <p:grpSpPr bwMode="auto">
          <a:xfrm>
            <a:off x="7762673" y="285210"/>
            <a:ext cx="1092740" cy="745435"/>
            <a:chOff x="7540629" y="279400"/>
            <a:chExt cx="1071563" cy="730251"/>
          </a:xfrm>
        </p:grpSpPr>
        <p:sp>
          <p:nvSpPr>
            <p:cNvPr id="31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879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dirty="0">
                <a:latin typeface="Arial"/>
                <a:cs typeface="+mn-cs"/>
              </a:endParaRPr>
            </a:p>
          </p:txBody>
        </p:sp>
        <p:sp>
          <p:nvSpPr>
            <p:cNvPr id="32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879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dirty="0">
                <a:latin typeface="Arial"/>
                <a:cs typeface="+mn-cs"/>
              </a:endParaRPr>
            </a:p>
          </p:txBody>
        </p:sp>
        <p:sp>
          <p:nvSpPr>
            <p:cNvPr id="33" name="LineLegend3"/>
            <p:cNvSpPr>
              <a:spLocks noChangeShapeType="1"/>
            </p:cNvSpPr>
            <p:nvPr/>
          </p:nvSpPr>
          <p:spPr bwMode="gray">
            <a:xfrm>
              <a:off x="7540629" y="915989"/>
              <a:ext cx="457879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dirty="0">
                <a:latin typeface="Arial"/>
                <a:cs typeface="+mn-cs"/>
              </a:endParaRPr>
            </a:p>
          </p:txBody>
        </p:sp>
        <p:sp>
          <p:nvSpPr>
            <p:cNvPr id="34" name="Legend1"/>
            <p:cNvSpPr>
              <a:spLocks noChangeArrowheads="1"/>
            </p:cNvSpPr>
            <p:nvPr/>
          </p:nvSpPr>
          <p:spPr bwMode="gray">
            <a:xfrm>
              <a:off x="8101849" y="279400"/>
              <a:ext cx="510343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1pPr>
              <a:lvl2pPr marL="742950" indent="-28575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2pPr>
              <a:lvl3pPr marL="11430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3pPr>
              <a:lvl4pPr marL="16002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4pPr>
              <a:lvl5pPr marL="20574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5pPr>
              <a:lvl6pPr marL="25146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6pPr>
              <a:lvl7pPr marL="29718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7pPr>
              <a:lvl8pPr marL="34290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8pPr>
              <a:lvl9pPr marL="38862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hu-HU" sz="1200" smtClean="0"/>
                <a:t>Legend</a:t>
              </a:r>
            </a:p>
          </p:txBody>
        </p:sp>
        <p:sp>
          <p:nvSpPr>
            <p:cNvPr id="35" name="Legend2"/>
            <p:cNvSpPr>
              <a:spLocks noChangeArrowheads="1"/>
            </p:cNvSpPr>
            <p:nvPr/>
          </p:nvSpPr>
          <p:spPr bwMode="gray">
            <a:xfrm>
              <a:off x="8101849" y="546100"/>
              <a:ext cx="510343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1pPr>
              <a:lvl2pPr marL="742950" indent="-28575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2pPr>
              <a:lvl3pPr marL="11430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3pPr>
              <a:lvl4pPr marL="16002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4pPr>
              <a:lvl5pPr marL="20574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5pPr>
              <a:lvl6pPr marL="25146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6pPr>
              <a:lvl7pPr marL="29718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7pPr>
              <a:lvl8pPr marL="34290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8pPr>
              <a:lvl9pPr marL="38862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hu-HU" sz="1200" smtClean="0"/>
                <a:t>Legend</a:t>
              </a:r>
            </a:p>
          </p:txBody>
        </p:sp>
        <p:sp>
          <p:nvSpPr>
            <p:cNvPr id="36" name="Legend3"/>
            <p:cNvSpPr>
              <a:spLocks noChangeArrowheads="1"/>
            </p:cNvSpPr>
            <p:nvPr/>
          </p:nvSpPr>
          <p:spPr bwMode="gray">
            <a:xfrm>
              <a:off x="8101849" y="825501"/>
              <a:ext cx="510343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1pPr>
              <a:lvl2pPr marL="742950" indent="-28575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2pPr>
              <a:lvl3pPr marL="11430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3pPr>
              <a:lvl4pPr marL="16002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4pPr>
              <a:lvl5pPr marL="20574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5pPr>
              <a:lvl6pPr marL="25146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6pPr>
              <a:lvl7pPr marL="29718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7pPr>
              <a:lvl8pPr marL="34290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8pPr>
              <a:lvl9pPr marL="38862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hu-HU" sz="1200" smtClean="0"/>
                <a:t>Legend</a:t>
              </a:r>
            </a:p>
          </p:txBody>
        </p:sp>
      </p:grpSp>
      <p:grpSp>
        <p:nvGrpSpPr>
          <p:cNvPr id="37" name="LegendMoons" hidden="1"/>
          <p:cNvGrpSpPr>
            <a:grpSpLocks/>
          </p:cNvGrpSpPr>
          <p:nvPr/>
        </p:nvGrpSpPr>
        <p:grpSpPr bwMode="auto">
          <a:xfrm>
            <a:off x="8009107" y="256041"/>
            <a:ext cx="846306" cy="1333681"/>
            <a:chOff x="7769225" y="250825"/>
            <a:chExt cx="830430" cy="1306516"/>
          </a:xfrm>
        </p:grpSpPr>
        <p:grpSp>
          <p:nvGrpSpPr>
            <p:cNvPr id="38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6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dirty="0">
                  <a:latin typeface="Arial"/>
                  <a:cs typeface="+mn-cs"/>
                </a:endParaRPr>
              </a:p>
            </p:txBody>
          </p:sp>
          <p:sp>
            <p:nvSpPr>
              <p:cNvPr id="57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dirty="0">
                  <a:latin typeface="Arial"/>
                  <a:cs typeface="+mn-cs"/>
                </a:endParaRPr>
              </a:p>
            </p:txBody>
          </p:sp>
        </p:grpSp>
        <p:grpSp>
          <p:nvGrpSpPr>
            <p:cNvPr id="39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dirty="0">
                  <a:latin typeface="Arial"/>
                  <a:cs typeface="+mn-cs"/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dirty="0">
                  <a:latin typeface="Arial"/>
                  <a:cs typeface="+mn-cs"/>
                </a:endParaRPr>
              </a:p>
            </p:txBody>
          </p:sp>
        </p:grpSp>
        <p:grpSp>
          <p:nvGrpSpPr>
            <p:cNvPr id="40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dirty="0">
                  <a:latin typeface="Arial"/>
                  <a:cs typeface="+mn-cs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dirty="0">
                  <a:latin typeface="Arial"/>
                  <a:cs typeface="+mn-cs"/>
                </a:endParaRPr>
              </a:p>
            </p:txBody>
          </p:sp>
        </p:grpSp>
        <p:grpSp>
          <p:nvGrpSpPr>
            <p:cNvPr id="41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0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dirty="0">
                  <a:latin typeface="Arial"/>
                  <a:cs typeface="+mn-cs"/>
                </a:endParaRPr>
              </a:p>
            </p:txBody>
          </p:sp>
          <p:sp>
            <p:nvSpPr>
              <p:cNvPr id="51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dirty="0">
                  <a:latin typeface="Arial"/>
                  <a:cs typeface="+mn-cs"/>
                </a:endParaRPr>
              </a:p>
            </p:txBody>
          </p:sp>
        </p:grpSp>
        <p:grpSp>
          <p:nvGrpSpPr>
            <p:cNvPr id="42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48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dirty="0">
                  <a:latin typeface="Arial"/>
                  <a:cs typeface="+mn-cs"/>
                </a:endParaRPr>
              </a:p>
            </p:txBody>
          </p:sp>
          <p:sp>
            <p:nvSpPr>
              <p:cNvPr id="49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dirty="0">
                  <a:latin typeface="Arial"/>
                  <a:cs typeface="+mn-cs"/>
                </a:endParaRPr>
              </a:p>
            </p:txBody>
          </p:sp>
        </p:grpSp>
        <p:sp>
          <p:nvSpPr>
            <p:cNvPr id="43" name="Legend1"/>
            <p:cNvSpPr>
              <a:spLocks noChangeArrowheads="1"/>
            </p:cNvSpPr>
            <p:nvPr/>
          </p:nvSpPr>
          <p:spPr bwMode="gray">
            <a:xfrm>
              <a:off x="8090579" y="263525"/>
              <a:ext cx="509076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1pPr>
              <a:lvl2pPr marL="742950" indent="-28575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2pPr>
              <a:lvl3pPr marL="11430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3pPr>
              <a:lvl4pPr marL="16002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4pPr>
              <a:lvl5pPr marL="20574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5pPr>
              <a:lvl6pPr marL="25146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6pPr>
              <a:lvl7pPr marL="29718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7pPr>
              <a:lvl8pPr marL="34290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8pPr>
              <a:lvl9pPr marL="38862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hu-HU" sz="1200" smtClean="0"/>
                <a:t>Legend</a:t>
              </a: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gray">
            <a:xfrm>
              <a:off x="8090579" y="538164"/>
              <a:ext cx="509076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1pPr>
              <a:lvl2pPr marL="742950" indent="-28575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2pPr>
              <a:lvl3pPr marL="11430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3pPr>
              <a:lvl4pPr marL="16002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4pPr>
              <a:lvl5pPr marL="20574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5pPr>
              <a:lvl6pPr marL="25146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6pPr>
              <a:lvl7pPr marL="29718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7pPr>
              <a:lvl8pPr marL="34290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8pPr>
              <a:lvl9pPr marL="38862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hu-HU" sz="1200" smtClean="0"/>
                <a:t>Legend</a:t>
              </a: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gray">
            <a:xfrm>
              <a:off x="8090579" y="812801"/>
              <a:ext cx="509076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1pPr>
              <a:lvl2pPr marL="742950" indent="-28575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2pPr>
              <a:lvl3pPr marL="11430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3pPr>
              <a:lvl4pPr marL="16002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4pPr>
              <a:lvl5pPr marL="20574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5pPr>
              <a:lvl6pPr marL="25146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6pPr>
              <a:lvl7pPr marL="29718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7pPr>
              <a:lvl8pPr marL="34290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8pPr>
              <a:lvl9pPr marL="38862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hu-HU" sz="1200" smtClean="0"/>
                <a:t>Legend</a:t>
              </a: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gray">
            <a:xfrm>
              <a:off x="8090579" y="1084265"/>
              <a:ext cx="509076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1pPr>
              <a:lvl2pPr marL="742950" indent="-28575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2pPr>
              <a:lvl3pPr marL="11430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3pPr>
              <a:lvl4pPr marL="16002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4pPr>
              <a:lvl5pPr marL="20574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5pPr>
              <a:lvl6pPr marL="25146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6pPr>
              <a:lvl7pPr marL="29718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7pPr>
              <a:lvl8pPr marL="34290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8pPr>
              <a:lvl9pPr marL="38862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hu-HU" sz="1200" smtClean="0"/>
                <a:t>Legend</a:t>
              </a:r>
            </a:p>
          </p:txBody>
        </p:sp>
        <p:sp>
          <p:nvSpPr>
            <p:cNvPr id="47" name="Legend5"/>
            <p:cNvSpPr>
              <a:spLocks noChangeArrowheads="1"/>
            </p:cNvSpPr>
            <p:nvPr/>
          </p:nvSpPr>
          <p:spPr bwMode="gray">
            <a:xfrm>
              <a:off x="8090579" y="1360491"/>
              <a:ext cx="509076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1pPr>
              <a:lvl2pPr marL="742950" indent="-28575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2pPr>
              <a:lvl3pPr marL="11430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3pPr>
              <a:lvl4pPr marL="16002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4pPr>
              <a:lvl5pPr marL="2057400" indent="-228600" defTabSz="890588" eaLnBrk="0"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5pPr>
              <a:lvl6pPr marL="25146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6pPr>
              <a:lvl7pPr marL="29718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7pPr>
              <a:lvl8pPr marL="34290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8pPr>
              <a:lvl9pPr marL="3886200" indent="-228600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  <a:sym typeface="Arial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hu-HU" sz="1200" smtClean="0"/>
                <a:t>Legend</a:t>
              </a:r>
            </a:p>
          </p:txBody>
        </p:sp>
      </p:grpSp>
      <p:sp>
        <p:nvSpPr>
          <p:cNvPr id="58" name="Slide Number"/>
          <p:cNvSpPr txBox="1">
            <a:spLocks/>
          </p:cNvSpPr>
          <p:nvPr userDrawn="1"/>
        </p:nvSpPr>
        <p:spPr bwMode="auto">
          <a:xfrm>
            <a:off x="8738682" y="6640852"/>
            <a:ext cx="128081" cy="124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eaLnBrk="1" hangingPunct="1"/>
            <a:fld id="{EDE54F1D-DBF5-420A-8BD5-7D63751E743F}" type="slidenum">
              <a:rPr lang="en-US" altLang="hu-HU" sz="800">
                <a:solidFill>
                  <a:srgbClr val="808080"/>
                </a:solidFill>
              </a:rPr>
              <a:pPr eaLnBrk="1" hangingPunct="1"/>
              <a:t>‹#›</a:t>
            </a:fld>
            <a:endParaRPr lang="en-US" altLang="hu-HU" sz="800">
              <a:solidFill>
                <a:srgbClr val="808080"/>
              </a:solidFill>
            </a:endParaRPr>
          </a:p>
        </p:txBody>
      </p:sp>
      <p:sp>
        <p:nvSpPr>
          <p:cNvPr id="59" name="doc id" hidden="1"/>
          <p:cNvSpPr>
            <a:spLocks noChangeArrowheads="1"/>
          </p:cNvSpPr>
          <p:nvPr userDrawn="1"/>
        </p:nvSpPr>
        <p:spPr bwMode="auto">
          <a:xfrm>
            <a:off x="8247435" y="51856"/>
            <a:ext cx="669587" cy="124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0588" eaLnBrk="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1pPr>
            <a:lvl2pPr marL="742950" indent="-285750" defTabSz="890588" eaLnBrk="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 defTabSz="890588" eaLnBrk="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 defTabSz="890588" eaLnBrk="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 defTabSz="890588" eaLnBrk="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algn="r" eaLnBrk="1" hangingPunct="1">
              <a:defRPr/>
            </a:pPr>
            <a:endParaRPr lang="en-US" altLang="hu-HU" sz="800" smtClean="0">
              <a:solidFill>
                <a:srgbClr val="80808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094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/>
          <p:cNvSpPr/>
          <p:nvPr/>
        </p:nvSpPr>
        <p:spPr>
          <a:xfrm>
            <a:off x="904875" y="3648075"/>
            <a:ext cx="7315200" cy="1279525"/>
          </a:xfrm>
          <a:prstGeom prst="rect">
            <a:avLst/>
          </a:prstGeom>
          <a:noFill/>
          <a:ln w="6350" cap="rnd" cmpd="sng" algn="ctr">
            <a:solidFill>
              <a:schemeClr val="accent1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Téglalap 4"/>
          <p:cNvSpPr/>
          <p:nvPr/>
        </p:nvSpPr>
        <p:spPr>
          <a:xfrm>
            <a:off x="914400" y="5048250"/>
            <a:ext cx="7315200" cy="685800"/>
          </a:xfrm>
          <a:prstGeom prst="rect">
            <a:avLst/>
          </a:prstGeom>
          <a:noFill/>
          <a:ln w="6350" cap="rnd" cmpd="sng" algn="ctr">
            <a:solidFill>
              <a:schemeClr val="accent2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églalap 5"/>
          <p:cNvSpPr/>
          <p:nvPr/>
        </p:nvSpPr>
        <p:spPr>
          <a:xfrm>
            <a:off x="904875" y="3648075"/>
            <a:ext cx="228600" cy="1279525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914400" y="5048250"/>
            <a:ext cx="228600" cy="685800"/>
          </a:xfrm>
          <a:prstGeom prst="rect">
            <a:avLst/>
          </a:prstGeom>
          <a:solidFill>
            <a:schemeClr val="accent2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Cím 7"/>
          <p:cNvSpPr>
            <a:spLocks noGrp="1"/>
          </p:cNvSpPr>
          <p:nvPr>
            <p:ph type="ctrTitle"/>
          </p:nvPr>
        </p:nvSpPr>
        <p:spPr>
          <a:xfrm>
            <a:off x="1219200" y="3886200"/>
            <a:ext cx="6858000" cy="990600"/>
          </a:xfrm>
        </p:spPr>
        <p:txBody>
          <a:bodyPr anchor="t"/>
          <a:lstStyle>
            <a:lvl1pPr algn="r">
              <a:defRPr sz="3200">
                <a:solidFill>
                  <a:schemeClr val="tx1"/>
                </a:solidFill>
              </a:defRPr>
            </a:lvl1pPr>
          </a:lstStyle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9" name="Alcím 8"/>
          <p:cNvSpPr>
            <a:spLocks noGrp="1"/>
          </p:cNvSpPr>
          <p:nvPr>
            <p:ph type="subTitle" idx="1"/>
          </p:nvPr>
        </p:nvSpPr>
        <p:spPr>
          <a:xfrm>
            <a:off x="1219200" y="5124450"/>
            <a:ext cx="6858000" cy="533400"/>
          </a:xfrm>
        </p:spPr>
        <p:txBody>
          <a:bodyPr/>
          <a:lstStyle>
            <a:lvl1pPr marL="0" indent="0" algn="r">
              <a:buNone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hu-HU" smtClean="0"/>
              <a:t>Alcím mintájának szerkesztése</a:t>
            </a:r>
            <a:endParaRPr lang="en-US"/>
          </a:p>
        </p:txBody>
      </p:sp>
      <p:sp>
        <p:nvSpPr>
          <p:cNvPr id="10" name="Dátum helye 27"/>
          <p:cNvSpPr>
            <a:spLocks noGrp="1"/>
          </p:cNvSpPr>
          <p:nvPr>
            <p:ph type="dt" sz="half" idx="10"/>
          </p:nvPr>
        </p:nvSpPr>
        <p:spPr>
          <a:xfrm>
            <a:off x="6400800" y="6354763"/>
            <a:ext cx="2286000" cy="366712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400"/>
            </a:lvl1pPr>
          </a:lstStyle>
          <a:p>
            <a:pPr>
              <a:defRPr/>
            </a:pPr>
            <a:fld id="{ED1DB6A7-981A-43CA-9AA6-4E941982BF39}" type="datetimeFigureOut">
              <a:rPr lang="hu-HU"/>
              <a:pPr>
                <a:defRPr/>
              </a:pPr>
              <a:t>2017.06.28.</a:t>
            </a:fld>
            <a:endParaRPr lang="hu-HU"/>
          </a:p>
        </p:txBody>
      </p:sp>
      <p:sp>
        <p:nvSpPr>
          <p:cNvPr id="11" name="Élőláb helye 16"/>
          <p:cNvSpPr>
            <a:spLocks noGrp="1"/>
          </p:cNvSpPr>
          <p:nvPr>
            <p:ph type="ftr" sz="quarter" idx="11"/>
          </p:nvPr>
        </p:nvSpPr>
        <p:spPr>
          <a:xfrm>
            <a:off x="2898775" y="6354763"/>
            <a:ext cx="3475038" cy="366712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12" name="Dia számának helye 28"/>
          <p:cNvSpPr>
            <a:spLocks noGrp="1"/>
          </p:cNvSpPr>
          <p:nvPr>
            <p:ph type="sldNum" sz="quarter" idx="12"/>
          </p:nvPr>
        </p:nvSpPr>
        <p:spPr>
          <a:xfrm>
            <a:off x="1216025" y="6354763"/>
            <a:ext cx="1219200" cy="366712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4CBC48F3-56D8-467C-B825-208A4DEA29D8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480086924"/>
      </p:ext>
    </p:extLst>
  </p:cSld>
  <p:clrMapOvr>
    <a:masterClrMapping/>
  </p:clrMapOvr>
  <p:transition spd="med">
    <p:wipe dir="d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8" name="Tartalom helye 7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8229600" cy="4937760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  <p:sp>
        <p:nvSpPr>
          <p:cNvPr id="4" name="Dátum helye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7E373934-D78D-41DA-BB94-CA3E1F5FDFD9}" type="datetimeFigureOut">
              <a:rPr lang="hu-HU"/>
              <a:pPr>
                <a:defRPr/>
              </a:pPr>
              <a:t>2017.06.28.</a:t>
            </a:fld>
            <a:endParaRPr lang="hu-HU"/>
          </a:p>
        </p:txBody>
      </p:sp>
      <p:sp>
        <p:nvSpPr>
          <p:cNvPr id="5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Dia számának helye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4B9D18B-C007-41D0-ACCB-DA96F95CD686}" type="slidenum">
              <a:rPr lang="hu-HU"/>
              <a:pPr>
                <a:defRPr/>
              </a:pPr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054144395"/>
      </p:ext>
    </p:extLst>
  </p:cSld>
  <p:clrMapOvr>
    <a:masterClrMapping/>
  </p:clrMapOvr>
  <p:transition spd="med">
    <p:wipe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zakaszfejlé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/>
          <p:cNvSpPr/>
          <p:nvPr/>
        </p:nvSpPr>
        <p:spPr>
          <a:xfrm>
            <a:off x="914400" y="2819400"/>
            <a:ext cx="7315200" cy="1279525"/>
          </a:xfrm>
          <a:prstGeom prst="rect">
            <a:avLst/>
          </a:prstGeom>
          <a:noFill/>
          <a:ln w="6350" cap="rnd" cmpd="sng" algn="ctr">
            <a:solidFill>
              <a:schemeClr val="accent1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Téglalap 4"/>
          <p:cNvSpPr/>
          <p:nvPr/>
        </p:nvSpPr>
        <p:spPr>
          <a:xfrm>
            <a:off x="914400" y="2819400"/>
            <a:ext cx="228600" cy="1279525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219200" y="2971800"/>
            <a:ext cx="6858000" cy="1066800"/>
          </a:xfrm>
        </p:spPr>
        <p:txBody>
          <a:bodyPr anchor="t"/>
          <a:lstStyle>
            <a:lvl1pPr algn="r">
              <a:buNone/>
              <a:defRPr sz="3200" b="0" cap="none" baseline="0"/>
            </a:lvl1pPr>
          </a:lstStyle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1295400" y="4267200"/>
            <a:ext cx="6781800" cy="1143000"/>
          </a:xfrm>
        </p:spPr>
        <p:txBody>
          <a:bodyPr/>
          <a:lstStyle>
            <a:lvl1pPr marL="0" indent="0" algn="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Dátum helye 3"/>
          <p:cNvSpPr>
            <a:spLocks noGrp="1"/>
          </p:cNvSpPr>
          <p:nvPr>
            <p:ph type="dt" sz="half" idx="10"/>
          </p:nvPr>
        </p:nvSpPr>
        <p:spPr>
          <a:xfrm>
            <a:off x="6400800" y="6354763"/>
            <a:ext cx="2286000" cy="366712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DDE9EC"/>
                </a:solidFill>
              </a:defRPr>
            </a:lvl1pPr>
          </a:lstStyle>
          <a:p>
            <a:pPr>
              <a:defRPr/>
            </a:pPr>
            <a:fld id="{376617BE-9DA3-480A-A1F8-DF0FDB570A66}" type="datetimeFigureOut">
              <a:rPr lang="hu-HU"/>
              <a:pPr>
                <a:defRPr/>
              </a:pPr>
              <a:t>2017.06.28.</a:t>
            </a:fld>
            <a:endParaRPr lang="hu-HU"/>
          </a:p>
        </p:txBody>
      </p:sp>
      <p:sp>
        <p:nvSpPr>
          <p:cNvPr id="7" name="Élőláb helye 4"/>
          <p:cNvSpPr>
            <a:spLocks noGrp="1"/>
          </p:cNvSpPr>
          <p:nvPr>
            <p:ph type="ftr" sz="quarter" idx="11"/>
          </p:nvPr>
        </p:nvSpPr>
        <p:spPr>
          <a:xfrm>
            <a:off x="2898775" y="6354763"/>
            <a:ext cx="3475038" cy="366712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DDE9EC"/>
                </a:solidFill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8" name="Dia számának helye 5"/>
          <p:cNvSpPr>
            <a:spLocks noGrp="1"/>
          </p:cNvSpPr>
          <p:nvPr>
            <p:ph type="sldNum" sz="quarter" idx="12"/>
          </p:nvPr>
        </p:nvSpPr>
        <p:spPr>
          <a:xfrm>
            <a:off x="1069975" y="6354763"/>
            <a:ext cx="1520825" cy="366712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DDE9EC"/>
                </a:solidFill>
              </a:defRPr>
            </a:lvl1pPr>
          </a:lstStyle>
          <a:p>
            <a:pPr>
              <a:defRPr/>
            </a:pPr>
            <a:fld id="{8C844B72-7B73-4E4E-ADD1-ABE2C13CA148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7796921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9" name="Tartalom helye 8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4041648" cy="4937760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  <p:sp>
        <p:nvSpPr>
          <p:cNvPr id="11" name="Tartalom helye 10"/>
          <p:cNvSpPr>
            <a:spLocks noGrp="1"/>
          </p:cNvSpPr>
          <p:nvPr>
            <p:ph sz="quarter" idx="2"/>
          </p:nvPr>
        </p:nvSpPr>
        <p:spPr>
          <a:xfrm>
            <a:off x="4632198" y="1216152"/>
            <a:ext cx="4041648" cy="4937760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  <p:sp>
        <p:nvSpPr>
          <p:cNvPr id="5" name="Dátum helye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AFFE11B-4BC4-4D37-B1DD-BFD9DD5DCB68}" type="datetimeFigureOut">
              <a:rPr lang="hu-HU"/>
              <a:pPr>
                <a:defRPr/>
              </a:pPr>
              <a:t>2017.06.28.</a:t>
            </a:fld>
            <a:endParaRPr lang="hu-HU"/>
          </a:p>
        </p:txBody>
      </p:sp>
      <p:sp>
        <p:nvSpPr>
          <p:cNvPr id="6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" name="Dia számának helye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F0D04CC8-7448-441A-94DC-C928CBD73EF8}" type="slidenum">
              <a:rPr lang="hu-HU"/>
              <a:pPr>
                <a:defRPr/>
              </a:pPr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983005002"/>
      </p:ext>
    </p:extLst>
  </p:cSld>
  <p:clrMapOvr>
    <a:masterClrMapping/>
  </p:clrMapOvr>
  <p:transition spd="med"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285875"/>
            <a:ext cx="4040188" cy="685800"/>
          </a:xfrm>
          <a:noFill/>
          <a:ln>
            <a:noFill/>
          </a:ln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3"/>
          </p:nvPr>
        </p:nvSpPr>
        <p:spPr>
          <a:xfrm>
            <a:off x="4648200" y="1295400"/>
            <a:ext cx="4041775" cy="685800"/>
          </a:xfrm>
          <a:noFill/>
          <a:ln>
            <a:noFill/>
          </a:ln>
        </p:spPr>
        <p:txBody>
          <a:bodyPr anchor="b"/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11" name="Tartalom helye 10"/>
          <p:cNvSpPr>
            <a:spLocks noGrp="1"/>
          </p:cNvSpPr>
          <p:nvPr>
            <p:ph sz="quarter" idx="2"/>
          </p:nvPr>
        </p:nvSpPr>
        <p:spPr>
          <a:xfrm>
            <a:off x="457200" y="2133600"/>
            <a:ext cx="4038600" cy="4038600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  <p:sp>
        <p:nvSpPr>
          <p:cNvPr id="13" name="Tartalom helye 12"/>
          <p:cNvSpPr>
            <a:spLocks noGrp="1"/>
          </p:cNvSpPr>
          <p:nvPr>
            <p:ph sz="quarter" idx="4"/>
          </p:nvPr>
        </p:nvSpPr>
        <p:spPr>
          <a:xfrm>
            <a:off x="4648200" y="2133600"/>
            <a:ext cx="4038600" cy="4038600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  <p:sp>
        <p:nvSpPr>
          <p:cNvPr id="7" name="Dátum helye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7C9258A3-5E04-4683-AF7E-29B3AF593DC9}" type="datetimeFigureOut">
              <a:rPr lang="hu-HU"/>
              <a:pPr>
                <a:defRPr/>
              </a:pPr>
              <a:t>2017.06.28.</a:t>
            </a:fld>
            <a:endParaRPr lang="hu-HU"/>
          </a:p>
        </p:txBody>
      </p:sp>
      <p:sp>
        <p:nvSpPr>
          <p:cNvPr id="8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9" name="Dia számának helye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1186C3AB-1DA8-4DC9-8993-6E84FEC34ECF}" type="slidenum">
              <a:rPr lang="hu-HU"/>
              <a:pPr>
                <a:defRPr/>
              </a:pPr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333354725"/>
      </p:ext>
    </p:extLst>
  </p:cSld>
  <p:clrMapOvr>
    <a:masterClrMapping/>
  </p:clrMapOvr>
  <p:transition spd="med">
    <p:wipe dir="d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áromszög 2"/>
          <p:cNvSpPr>
            <a:spLocks noChangeAspect="1"/>
          </p:cNvSpPr>
          <p:nvPr/>
        </p:nvSpPr>
        <p:spPr>
          <a:xfrm rot="5400000">
            <a:off x="419100" y="6467475"/>
            <a:ext cx="190500" cy="1206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4" name="Dátum hely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567D0B1C-840D-44A9-B53C-58B78ACB6746}" type="datetimeFigureOut">
              <a:rPr lang="hu-HU"/>
              <a:pPr>
                <a:defRPr/>
              </a:pPr>
              <a:t>2017.06.28.</a:t>
            </a:fld>
            <a:endParaRPr lang="hu-HU"/>
          </a:p>
        </p:txBody>
      </p:sp>
      <p:sp>
        <p:nvSpPr>
          <p:cNvPr id="5" name="Élőláb hely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F85A4A4-F177-43CE-ABFB-D68D35C2693A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432764147"/>
      </p:ext>
    </p:extLst>
  </p:cSld>
  <p:clrMapOvr>
    <a:masterClrMapping/>
  </p:clrMapOvr>
  <p:transition spd="med"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gyenes összekötő 12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hu-H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3" name="Háromszög 2"/>
          <p:cNvSpPr>
            <a:spLocks noChangeAspect="1"/>
          </p:cNvSpPr>
          <p:nvPr/>
        </p:nvSpPr>
        <p:spPr>
          <a:xfrm rot="5400000">
            <a:off x="419100" y="6467475"/>
            <a:ext cx="190500" cy="1206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Dátum hely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8BA32D4D-67B7-4F06-9813-17636D3D8910}" type="datetimeFigureOut">
              <a:rPr lang="hu-HU"/>
              <a:pPr>
                <a:defRPr/>
              </a:pPr>
              <a:t>2017.06.28.</a:t>
            </a:fld>
            <a:endParaRPr lang="hu-HU"/>
          </a:p>
        </p:txBody>
      </p:sp>
      <p:sp>
        <p:nvSpPr>
          <p:cNvPr id="5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AE59C2D4-13B4-46CC-A957-9156A6E5C9B4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101226566"/>
      </p:ext>
    </p:extLst>
  </p:cSld>
  <p:clrMapOvr>
    <a:masterClrMapping/>
  </p:clrMapOvr>
  <p:transition spd="med"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gyenes összekötő 12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hu-H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Egyenes összekötő 14"/>
          <p:cNvSpPr>
            <a:spLocks noChangeShapeType="1"/>
          </p:cNvSpPr>
          <p:nvPr/>
        </p:nvSpPr>
        <p:spPr bwMode="auto">
          <a:xfrm rot="5400000">
            <a:off x="3160712" y="3324226"/>
            <a:ext cx="6035675" cy="0"/>
          </a:xfrm>
          <a:prstGeom prst="line">
            <a:avLst/>
          </a:prstGeom>
          <a:noFill/>
          <a:ln w="9525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hu-H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" name="Háromszög 6"/>
          <p:cNvSpPr>
            <a:spLocks noChangeAspect="1"/>
          </p:cNvSpPr>
          <p:nvPr/>
        </p:nvSpPr>
        <p:spPr>
          <a:xfrm rot="5400000">
            <a:off x="419100" y="6467475"/>
            <a:ext cx="190500" cy="1206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324600" y="304800"/>
            <a:ext cx="2514600" cy="838200"/>
          </a:xfrm>
        </p:spPr>
        <p:txBody>
          <a:bodyPr>
            <a:noAutofit/>
          </a:bodyPr>
          <a:lstStyle>
            <a:lvl1pPr algn="l">
              <a:buNone/>
              <a:defRPr sz="20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3" name="Szöveg helye 2"/>
          <p:cNvSpPr>
            <a:spLocks noGrp="1"/>
          </p:cNvSpPr>
          <p:nvPr>
            <p:ph type="body" idx="2"/>
          </p:nvPr>
        </p:nvSpPr>
        <p:spPr>
          <a:xfrm>
            <a:off x="6324600" y="1219200"/>
            <a:ext cx="2514600" cy="4843463"/>
          </a:xfrm>
        </p:spPr>
        <p:txBody>
          <a:bodyPr/>
          <a:lstStyle>
            <a:lvl1pPr marL="0" indent="0">
              <a:lnSpc>
                <a:spcPts val="2200"/>
              </a:lnSpc>
              <a:spcAft>
                <a:spcPts val="1000"/>
              </a:spcAft>
              <a:buNone/>
              <a:defRPr sz="1600">
                <a:solidFill>
                  <a:schemeClr val="tx2"/>
                </a:solidFill>
              </a:defRPr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12" name="Tartalom helye 11"/>
          <p:cNvSpPr>
            <a:spLocks noGrp="1"/>
          </p:cNvSpPr>
          <p:nvPr>
            <p:ph sz="quarter" idx="1"/>
          </p:nvPr>
        </p:nvSpPr>
        <p:spPr>
          <a:xfrm>
            <a:off x="304800" y="304800"/>
            <a:ext cx="5715000" cy="5715000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  <p:sp>
        <p:nvSpPr>
          <p:cNvPr id="8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2850EB4F-94C8-430D-852A-86A1243680DB}" type="datetimeFigureOut">
              <a:rPr lang="hu-HU"/>
              <a:pPr>
                <a:defRPr/>
              </a:pPr>
              <a:t>2017.06.28.</a:t>
            </a:fld>
            <a:endParaRPr lang="hu-HU"/>
          </a:p>
        </p:txBody>
      </p:sp>
      <p:sp>
        <p:nvSpPr>
          <p:cNvPr id="9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10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90E3E31B-C323-41C3-8070-7BB8C5FBE79B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62512732"/>
      </p:ext>
    </p:extLst>
  </p:cSld>
  <p:clrMapOvr>
    <a:masterClrMapping/>
  </p:clrMapOvr>
  <p:transition spd="med"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6" descr="bg_1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88" y="14288"/>
            <a:ext cx="9140825" cy="682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hu-HU" smtClean="0"/>
          </a:p>
        </p:txBody>
      </p:sp>
      <p:sp>
        <p:nvSpPr>
          <p:cNvPr id="307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4890418-9C63-48DA-840A-65E49733C93B}" type="datetimeFigureOut">
              <a:rPr lang="hu-H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.06.28.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24650" y="614362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430BC35-AB94-4B09-860E-E9FF0C382B6D}" type="slidenum">
              <a:rPr lang="hu-H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5624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Cím helye 2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82296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hu-HU" altLang="hu-HU" smtClean="0"/>
              <a:t>Mintacím szerkesztése</a:t>
            </a:r>
            <a:endParaRPr lang="en-US" altLang="hu-HU" smtClean="0"/>
          </a:p>
        </p:txBody>
      </p:sp>
      <p:sp>
        <p:nvSpPr>
          <p:cNvPr id="3075" name="Szöveg helye 1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8229600" cy="491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altLang="hu-HU" smtClean="0"/>
              <a:t>Mintaszöveg szerkesztése</a:t>
            </a:r>
          </a:p>
          <a:p>
            <a:pPr lvl="1"/>
            <a:r>
              <a:rPr lang="hu-HU" altLang="hu-HU" smtClean="0"/>
              <a:t>Második szint</a:t>
            </a:r>
          </a:p>
          <a:p>
            <a:pPr lvl="2"/>
            <a:r>
              <a:rPr lang="hu-HU" altLang="hu-HU" smtClean="0"/>
              <a:t>Harmadik szint</a:t>
            </a:r>
          </a:p>
          <a:p>
            <a:pPr lvl="3"/>
            <a:r>
              <a:rPr lang="hu-HU" altLang="hu-HU" smtClean="0"/>
              <a:t>Negyedik szint</a:t>
            </a:r>
          </a:p>
          <a:p>
            <a:pPr lvl="4"/>
            <a:r>
              <a:rPr lang="hu-HU" altLang="hu-HU" smtClean="0"/>
              <a:t>Ötödik szint</a:t>
            </a:r>
            <a:endParaRPr lang="en-US" altLang="hu-HU" smtClean="0"/>
          </a:p>
        </p:txBody>
      </p:sp>
      <p:sp>
        <p:nvSpPr>
          <p:cNvPr id="14" name="Dátum helye 13"/>
          <p:cNvSpPr>
            <a:spLocks noGrp="1"/>
          </p:cNvSpPr>
          <p:nvPr>
            <p:ph type="dt" sz="half" idx="2"/>
          </p:nvPr>
        </p:nvSpPr>
        <p:spPr>
          <a:xfrm>
            <a:off x="6400800" y="6356350"/>
            <a:ext cx="2289175" cy="365125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400">
                <a:solidFill>
                  <a:srgbClr val="464653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88BACB0-FC8E-4FD3-AA18-5414F256DF5A}" type="datetimeFigureOut">
              <a:rPr lang="hu-H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17.06.28.</a:t>
            </a:fld>
            <a:endParaRPr lang="hu-HU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3"/>
          </p:nvPr>
        </p:nvSpPr>
        <p:spPr>
          <a:xfrm>
            <a:off x="2898775" y="6356350"/>
            <a:ext cx="3505200" cy="365125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400">
                <a:solidFill>
                  <a:srgbClr val="464653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hu-HU"/>
          </a:p>
        </p:txBody>
      </p:sp>
      <p:sp>
        <p:nvSpPr>
          <p:cNvPr id="23" name="Dia számának helye 22"/>
          <p:cNvSpPr>
            <a:spLocks noGrp="1"/>
          </p:cNvSpPr>
          <p:nvPr>
            <p:ph type="sldNum" sz="quarter" idx="4"/>
          </p:nvPr>
        </p:nvSpPr>
        <p:spPr>
          <a:xfrm>
            <a:off x="612775" y="6356350"/>
            <a:ext cx="1981200" cy="365125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400">
                <a:solidFill>
                  <a:srgbClr val="464653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4B068ED-56A3-42BD-BF60-AE3D299CC3F0}" type="slidenum">
              <a:rPr lang="hu-H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hu-HU" dirty="0"/>
          </a:p>
        </p:txBody>
      </p:sp>
      <p:sp>
        <p:nvSpPr>
          <p:cNvPr id="3079" name="Egyenes összekötő 27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hu-H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3080" name="Egyenes összekötő 28"/>
          <p:cNvSpPr>
            <a:spLocks noChangeShapeType="1"/>
          </p:cNvSpPr>
          <p:nvPr/>
        </p:nvSpPr>
        <p:spPr bwMode="auto">
          <a:xfrm>
            <a:off x="457200" y="1143000"/>
            <a:ext cx="8229600" cy="0"/>
          </a:xfrm>
          <a:prstGeom prst="line">
            <a:avLst/>
          </a:prstGeom>
          <a:noFill/>
          <a:ln w="9525" algn="ctr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hu-H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0" name="Háromszög 9"/>
          <p:cNvSpPr>
            <a:spLocks noChangeAspect="1"/>
          </p:cNvSpPr>
          <p:nvPr/>
        </p:nvSpPr>
        <p:spPr>
          <a:xfrm rot="5400000">
            <a:off x="419100" y="6467475"/>
            <a:ext cx="190500" cy="1206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3082" name="Picture 7" descr="bg_2_beloldal.jp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4288"/>
            <a:ext cx="9140825" cy="682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5"/>
          <p:cNvSpPr txBox="1">
            <a:spLocks/>
          </p:cNvSpPr>
          <p:nvPr/>
        </p:nvSpPr>
        <p:spPr>
          <a:xfrm>
            <a:off x="6740525" y="6421438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A69765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 algn="r">
              <a:defRPr/>
            </a:pPr>
            <a:fld id="{60B01AF5-AD06-4984-8279-A8EA77E51551}" type="slidenum">
              <a:rPr lang="hu-HU" smtClean="0"/>
              <a:pPr algn="r">
                <a:defRPr/>
              </a:pPr>
              <a:t>‹#›</a:t>
            </a:fld>
            <a:endParaRPr lang="hu-HU" dirty="0" smtClean="0"/>
          </a:p>
        </p:txBody>
      </p:sp>
    </p:spTree>
    <p:extLst>
      <p:ext uri="{BB962C8B-B14F-4D97-AF65-F5344CB8AC3E}">
        <p14:creationId xmlns:p14="http://schemas.microsoft.com/office/powerpoint/2010/main" val="2922818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6" r:id="rId12"/>
  </p:sldLayoutIdLst>
  <p:transition spd="med">
    <p:wipe dir="d"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Bookman Old Style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Bookman Old Style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Bookman Old Style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Bookman Old Style" pitchFamily="18" charset="0"/>
        </a:defRPr>
      </a:lvl9pPr>
    </p:titleStyle>
    <p:bodyStyle>
      <a:lvl1pPr marL="273050" indent="-273050" algn="l" rtl="0" eaLnBrk="0" fontAlgn="base" hangingPunct="0">
        <a:spcBef>
          <a:spcPts val="600"/>
        </a:spcBef>
        <a:spcAft>
          <a:spcPct val="0"/>
        </a:spcAft>
        <a:buClr>
          <a:schemeClr val="accent1"/>
        </a:buClr>
        <a:buSzPct val="76000"/>
        <a:buFont typeface="Wingdings 3" pitchFamily="18" charset="2"/>
        <a:buChar char="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547688" indent="-273050" algn="l" rtl="0" eaLnBrk="0" fontAlgn="base" hangingPunct="0">
        <a:spcBef>
          <a:spcPts val="500"/>
        </a:spcBef>
        <a:spcAft>
          <a:spcPct val="0"/>
        </a:spcAft>
        <a:buClr>
          <a:schemeClr val="accent2"/>
        </a:buClr>
        <a:buSzPct val="76000"/>
        <a:buFont typeface="Wingdings 3" pitchFamily="18" charset="2"/>
        <a:buChar char=""/>
        <a:defRPr sz="2300" kern="1200">
          <a:solidFill>
            <a:schemeClr val="tx2"/>
          </a:solidFill>
          <a:latin typeface="+mn-lt"/>
          <a:ea typeface="+mn-ea"/>
          <a:cs typeface="+mn-cs"/>
        </a:defRPr>
      </a:lvl2pPr>
      <a:lvl3pPr marL="822325" indent="-228600" algn="l" rtl="0" eaLnBrk="0" fontAlgn="base" hangingPunct="0">
        <a:spcBef>
          <a:spcPts val="500"/>
        </a:spcBef>
        <a:spcAft>
          <a:spcPct val="0"/>
        </a:spcAft>
        <a:buClr>
          <a:srgbClr val="BCBCBC"/>
        </a:buClr>
        <a:buSzPct val="76000"/>
        <a:buFont typeface="Wingdings 3" pitchFamily="18" charset="2"/>
        <a:buChar char="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96963" indent="-228600" algn="l" rtl="0" eaLnBrk="0" fontAlgn="base" hangingPunct="0">
        <a:spcBef>
          <a:spcPts val="400"/>
        </a:spcBef>
        <a:spcAft>
          <a:spcPct val="0"/>
        </a:spcAft>
        <a:buClr>
          <a:srgbClr val="8BA2B4"/>
        </a:buClr>
        <a:buSzPct val="70000"/>
        <a:buFont typeface="Wingdings" pitchFamily="2" charset="2"/>
        <a:buChar char="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0" fontAlgn="base" hangingPunct="0">
        <a:spcBef>
          <a:spcPts val="3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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45920" indent="-182880" algn="l" rtl="0" eaLnBrk="1" latinLnBrk="0" hangingPunct="1">
        <a:spcBef>
          <a:spcPts val="300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ts val="300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400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2011680" indent="-182880" algn="l" rtl="0" eaLnBrk="1" latinLnBrk="0" hangingPunct="1">
        <a:spcBef>
          <a:spcPts val="300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400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2194560" indent="-182880" algn="l" rtl="0" eaLnBrk="1" latinLnBrk="0" hangingPunct="1">
        <a:spcBef>
          <a:spcPts val="300"/>
        </a:spcBef>
        <a:buClr>
          <a:srgbClr val="9FB8CD"/>
        </a:buClr>
        <a:buSzPct val="75000"/>
        <a:buFont typeface="Wingdings 3"/>
        <a:buChar char=""/>
        <a:defRPr kumimoji="0" lang="en-US" sz="1200" kern="120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7.emf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oleObject" Target="../embeddings/oleObject3.bin"/><Relationship Id="rId2" Type="http://schemas.openxmlformats.org/officeDocument/2006/relationships/tags" Target="../tags/tag18.xml"/><Relationship Id="rId16" Type="http://schemas.openxmlformats.org/officeDocument/2006/relationships/image" Target="../media/image6.emf"/><Relationship Id="rId1" Type="http://schemas.openxmlformats.org/officeDocument/2006/relationships/vmlDrawing" Target="../drawings/vmlDrawing2.v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5" Type="http://schemas.openxmlformats.org/officeDocument/2006/relationships/oleObject" Target="../embeddings/oleObject2.bin"/><Relationship Id="rId10" Type="http://schemas.openxmlformats.org/officeDocument/2006/relationships/tags" Target="../tags/tag26.xml"/><Relationship Id="rId19" Type="http://schemas.openxmlformats.org/officeDocument/2006/relationships/image" Target="../media/image8.png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ctrTitle"/>
          </p:nvPr>
        </p:nvSpPr>
        <p:spPr>
          <a:xfrm>
            <a:off x="184590" y="3068960"/>
            <a:ext cx="8856984" cy="1224136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hu-HU" sz="3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hu-HU" sz="3600" b="1" dirty="0">
                <a:solidFill>
                  <a:schemeClr val="accent2">
                    <a:lumMod val="75000"/>
                  </a:schemeClr>
                </a:solidFill>
              </a:rPr>
              <a:t>A</a:t>
            </a:r>
            <a:r>
              <a:rPr lang="hu-HU" sz="3600" b="1" dirty="0" smtClean="0">
                <a:solidFill>
                  <a:schemeClr val="accent2">
                    <a:lumMod val="75000"/>
                  </a:schemeClr>
                </a:solidFill>
              </a:rPr>
              <a:t> szakképzés aktualitásai, tervek a jövőre</a:t>
            </a:r>
          </a:p>
        </p:txBody>
      </p:sp>
      <p:sp>
        <p:nvSpPr>
          <p:cNvPr id="3" name="Szövegdoboz 2"/>
          <p:cNvSpPr txBox="1"/>
          <p:nvPr/>
        </p:nvSpPr>
        <p:spPr>
          <a:xfrm rot="10800000" flipH="1" flipV="1">
            <a:off x="4427984" y="4816231"/>
            <a:ext cx="4615684" cy="132343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Pölöskei Gáborné</a:t>
            </a:r>
            <a:endParaRPr lang="hu-HU" sz="20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s</a:t>
            </a:r>
            <a:r>
              <a:rPr lang="hu-HU" sz="2000" i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zakképzésért és felnőttképzésért felelős helyette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hu-HU" sz="2000" i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államtitkár</a:t>
            </a:r>
            <a:endParaRPr lang="hu-HU" sz="2000" i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8633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/>
          <p:cNvSpPr/>
          <p:nvPr/>
        </p:nvSpPr>
        <p:spPr>
          <a:xfrm>
            <a:off x="0" y="167727"/>
            <a:ext cx="9144000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endParaRPr lang="hu-HU" sz="5400" b="1" cap="none" spc="0" dirty="0">
              <a:ln w="6600">
                <a:solidFill>
                  <a:schemeClr val="accent2"/>
                </a:solidFill>
                <a:prstDash val="solid"/>
              </a:ln>
              <a:solidFill>
                <a:srgbClr val="FFFF00"/>
              </a:solidFill>
              <a:effectLst>
                <a:outerShdw dist="38100" dir="2700000" algn="tl" rotWithShape="0">
                  <a:schemeClr val="accent2"/>
                </a:outerShdw>
              </a:effectLst>
              <a:latin typeface="+mj-lt"/>
            </a:endParaRPr>
          </a:p>
        </p:txBody>
      </p:sp>
      <p:pic>
        <p:nvPicPr>
          <p:cNvPr id="6" name="Kép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2348880"/>
            <a:ext cx="5386812" cy="3454098"/>
          </a:xfrm>
          <a:prstGeom prst="rect">
            <a:avLst/>
          </a:prstGeom>
        </p:spPr>
      </p:pic>
      <p:sp>
        <p:nvSpPr>
          <p:cNvPr id="7" name="Szövegdoboz 6"/>
          <p:cNvSpPr txBox="1"/>
          <p:nvPr/>
        </p:nvSpPr>
        <p:spPr>
          <a:xfrm>
            <a:off x="3689049" y="6390722"/>
            <a:ext cx="54375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200" dirty="0">
                <a:solidFill>
                  <a:schemeClr val="bg1">
                    <a:lumMod val="65000"/>
                  </a:schemeClr>
                </a:solidFill>
              </a:rPr>
              <a:t>Forrás: https://pixabay.com/hu/baba-fi%C3%BA-gyermek-gyermekkor-84627/</a:t>
            </a:r>
          </a:p>
        </p:txBody>
      </p:sp>
      <p:sp>
        <p:nvSpPr>
          <p:cNvPr id="2" name="Szövegdoboz 1"/>
          <p:cNvSpPr txBox="1"/>
          <p:nvPr/>
        </p:nvSpPr>
        <p:spPr>
          <a:xfrm>
            <a:off x="0" y="0"/>
            <a:ext cx="9144000" cy="95410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hu-HU" sz="2800" b="1" dirty="0" smtClean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lyen készségekkel kell rendelkezni a következő generációnak? </a:t>
            </a:r>
            <a:endParaRPr lang="hu-HU" sz="2800" b="1" dirty="0">
              <a:solidFill>
                <a:schemeClr val="accent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Szövegdoboz 4"/>
          <p:cNvSpPr txBox="1"/>
          <p:nvPr/>
        </p:nvSpPr>
        <p:spPr>
          <a:xfrm>
            <a:off x="5364088" y="1711538"/>
            <a:ext cx="3470004" cy="4401205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marL="457200" indent="-457200">
              <a:buFont typeface="Arial" pitchFamily="34" charset="0"/>
              <a:buChar char="•"/>
            </a:pPr>
            <a:r>
              <a:rPr lang="hu-HU" sz="2800" dirty="0" smtClean="0"/>
              <a:t>Produktív foglalkoztatást megalapozó alapkészségekkel rendelkezzen, </a:t>
            </a:r>
          </a:p>
          <a:p>
            <a:endParaRPr lang="hu-HU" sz="2800" i="1" dirty="0" smtClean="0"/>
          </a:p>
          <a:p>
            <a:pPr marL="457200" indent="-457200">
              <a:buFont typeface="Arial" pitchFamily="34" charset="0"/>
              <a:buChar char="•"/>
            </a:pPr>
            <a:r>
              <a:rPr lang="hu-HU" sz="2800" dirty="0"/>
              <a:t>Ö</a:t>
            </a:r>
            <a:r>
              <a:rPr lang="hu-HU" sz="2800" dirty="0" smtClean="0"/>
              <a:t>nmagával és a környezetével harmóniában élő felnőtté váljon.</a:t>
            </a:r>
            <a:endParaRPr lang="hu-HU" sz="2800" dirty="0"/>
          </a:p>
        </p:txBody>
      </p:sp>
    </p:spTree>
    <p:extLst>
      <p:ext uri="{BB962C8B-B14F-4D97-AF65-F5344CB8AC3E}">
        <p14:creationId xmlns:p14="http://schemas.microsoft.com/office/powerpoint/2010/main" val="3781169889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95536" y="1124744"/>
            <a:ext cx="8229600" cy="792088"/>
          </a:xfrm>
        </p:spPr>
        <p:txBody>
          <a:bodyPr/>
          <a:lstStyle/>
          <a:p>
            <a:pPr algn="ctr" eaLnBrk="1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76000"/>
              <a:defRPr/>
            </a:pPr>
            <a:r>
              <a:rPr lang="hu-HU" sz="2800" b="1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Milyen és mennyire fontos készségeket várnak el a munkáltatók? </a:t>
            </a:r>
          </a:p>
        </p:txBody>
      </p:sp>
      <p:graphicFrame>
        <p:nvGraphicFramePr>
          <p:cNvPr id="4" name="Tartalom helye 3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1066713047"/>
              </p:ext>
            </p:extLst>
          </p:nvPr>
        </p:nvGraphicFramePr>
        <p:xfrm>
          <a:off x="467544" y="1988840"/>
          <a:ext cx="8219256" cy="4754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95236"/>
                <a:gridCol w="2024020"/>
              </a:tblGrid>
              <a:tr h="401809">
                <a:tc>
                  <a:txBody>
                    <a:bodyPr/>
                    <a:lstStyle/>
                    <a:p>
                      <a:pPr algn="ctr"/>
                      <a:r>
                        <a:rPr lang="hu-HU" sz="2400" dirty="0" smtClean="0"/>
                        <a:t>Készségek</a:t>
                      </a:r>
                      <a:endParaRPr lang="hu-H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2400" dirty="0" smtClean="0"/>
                        <a:t>%</a:t>
                      </a:r>
                      <a:endParaRPr lang="hu-HU" sz="2400" dirty="0"/>
                    </a:p>
                  </a:txBody>
                  <a:tcPr/>
                </a:tc>
              </a:tr>
              <a:tr h="401809">
                <a:tc>
                  <a:txBody>
                    <a:bodyPr/>
                    <a:lstStyle/>
                    <a:p>
                      <a:r>
                        <a:rPr lang="hu-HU" sz="2400" dirty="0" smtClean="0"/>
                        <a:t>Probléma megoldás</a:t>
                      </a:r>
                      <a:endParaRPr lang="hu-H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2400" dirty="0" smtClean="0"/>
                        <a:t>92</a:t>
                      </a:r>
                      <a:endParaRPr lang="hu-HU" sz="2400" dirty="0"/>
                    </a:p>
                  </a:txBody>
                  <a:tcPr/>
                </a:tc>
              </a:tr>
              <a:tr h="7232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2400" dirty="0" smtClean="0"/>
                        <a:t>Együttműködés</a:t>
                      </a:r>
                    </a:p>
                    <a:p>
                      <a:endParaRPr lang="hu-H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2400" dirty="0" smtClean="0"/>
                        <a:t>92</a:t>
                      </a:r>
                      <a:endParaRPr lang="hu-HU" sz="2400" dirty="0"/>
                    </a:p>
                  </a:txBody>
                  <a:tcPr/>
                </a:tc>
              </a:tr>
              <a:tr h="401809">
                <a:tc>
                  <a:txBody>
                    <a:bodyPr/>
                    <a:lstStyle/>
                    <a:p>
                      <a:r>
                        <a:rPr lang="hu-HU" sz="2400" dirty="0" smtClean="0"/>
                        <a:t>Alkalmazkodó</a:t>
                      </a:r>
                      <a:r>
                        <a:rPr lang="hu-HU" sz="2400" baseline="0" dirty="0" smtClean="0"/>
                        <a:t> készség </a:t>
                      </a:r>
                      <a:endParaRPr lang="hu-H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2400" dirty="0" smtClean="0"/>
                        <a:t>83</a:t>
                      </a:r>
                      <a:endParaRPr lang="hu-HU" sz="2400" dirty="0"/>
                    </a:p>
                  </a:txBody>
                  <a:tcPr/>
                </a:tc>
              </a:tr>
              <a:tr h="7232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2400" dirty="0" smtClean="0"/>
                        <a:t>Kreativitás, innováció</a:t>
                      </a:r>
                    </a:p>
                    <a:p>
                      <a:endParaRPr lang="hu-H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2400" dirty="0" smtClean="0"/>
                        <a:t>74</a:t>
                      </a:r>
                      <a:endParaRPr lang="hu-HU" sz="2400" dirty="0"/>
                    </a:p>
                  </a:txBody>
                  <a:tcPr/>
                </a:tc>
              </a:tr>
              <a:tr h="401809">
                <a:tc>
                  <a:txBody>
                    <a:bodyPr/>
                    <a:lstStyle/>
                    <a:p>
                      <a:r>
                        <a:rPr lang="hu-HU" sz="2400" dirty="0" smtClean="0"/>
                        <a:t>Érzelmi intelligencia</a:t>
                      </a:r>
                      <a:endParaRPr lang="hu-H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2400" dirty="0" smtClean="0"/>
                        <a:t>69</a:t>
                      </a:r>
                      <a:endParaRPr lang="hu-HU" sz="2400" dirty="0"/>
                    </a:p>
                  </a:txBody>
                  <a:tcPr/>
                </a:tc>
              </a:tr>
              <a:tr h="7232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2400" dirty="0" smtClean="0"/>
                        <a:t>Vezetői készség</a:t>
                      </a:r>
                    </a:p>
                    <a:p>
                      <a:endParaRPr lang="hu-H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2400" dirty="0" smtClean="0"/>
                        <a:t>67</a:t>
                      </a:r>
                      <a:endParaRPr lang="hu-HU" sz="2400" dirty="0"/>
                    </a:p>
                  </a:txBody>
                  <a:tcPr/>
                </a:tc>
              </a:tr>
              <a:tr h="401809">
                <a:tc>
                  <a:txBody>
                    <a:bodyPr/>
                    <a:lstStyle/>
                    <a:p>
                      <a:r>
                        <a:rPr lang="hu-HU" sz="2400" dirty="0" smtClean="0"/>
                        <a:t>Digitális kompetencia</a:t>
                      </a:r>
                      <a:endParaRPr lang="hu-H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2400" dirty="0" smtClean="0"/>
                        <a:t>65</a:t>
                      </a:r>
                      <a:endParaRPr lang="hu-HU" sz="24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1521180"/>
      </p:ext>
    </p:extLst>
  </p:cSld>
  <p:clrMapOvr>
    <a:masterClrMapping/>
  </p:clrMapOvr>
  <p:transition spd="med">
    <p:wipe dir="d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7544" y="1196752"/>
            <a:ext cx="8229600" cy="432048"/>
          </a:xfrm>
        </p:spPr>
        <p:txBody>
          <a:bodyPr/>
          <a:lstStyle/>
          <a:p>
            <a:pPr algn="ctr"/>
            <a:r>
              <a:rPr lang="hu-HU" sz="2800" b="1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A </a:t>
            </a:r>
            <a:r>
              <a:rPr lang="hu-HU" sz="28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versenyképes tudás megszerzése: kitörési pontok </a:t>
            </a:r>
            <a:endParaRPr lang="hu-HU" sz="2800" b="1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4" name="Téglalap 3"/>
          <p:cNvSpPr/>
          <p:nvPr/>
        </p:nvSpPr>
        <p:spPr>
          <a:xfrm>
            <a:off x="971600" y="1924005"/>
            <a:ext cx="288032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200" b="1" dirty="0" smtClean="0">
                <a:solidFill>
                  <a:schemeClr val="tx1"/>
                </a:solidFill>
              </a:rPr>
              <a:t>Gazdaság</a:t>
            </a:r>
            <a:endParaRPr lang="hu-HU" sz="2200" b="1" dirty="0">
              <a:solidFill>
                <a:schemeClr val="tx1"/>
              </a:solidFill>
            </a:endParaRPr>
          </a:p>
        </p:txBody>
      </p:sp>
      <p:sp>
        <p:nvSpPr>
          <p:cNvPr id="5" name="Téglalap 4"/>
          <p:cNvSpPr/>
          <p:nvPr/>
        </p:nvSpPr>
        <p:spPr>
          <a:xfrm>
            <a:off x="4922714" y="1931934"/>
            <a:ext cx="3086516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200" b="1" dirty="0" smtClean="0">
                <a:solidFill>
                  <a:schemeClr val="tx1"/>
                </a:solidFill>
              </a:rPr>
              <a:t>Szakképzés</a:t>
            </a:r>
            <a:endParaRPr lang="hu-HU" sz="2200" b="1" dirty="0">
              <a:solidFill>
                <a:schemeClr val="tx1"/>
              </a:solidFill>
            </a:endParaRPr>
          </a:p>
        </p:txBody>
      </p:sp>
      <p:pic>
        <p:nvPicPr>
          <p:cNvPr id="3" name="Kép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267930" y="2924943"/>
            <a:ext cx="2168166" cy="1626077"/>
          </a:xfrm>
          <a:prstGeom prst="rect">
            <a:avLst/>
          </a:prstGeom>
        </p:spPr>
      </p:pic>
      <p:pic>
        <p:nvPicPr>
          <p:cNvPr id="10" name="Kép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9091" y="4437112"/>
            <a:ext cx="1413623" cy="1511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702050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Cím 1"/>
          <p:cNvSpPr>
            <a:spLocks noGrp="1"/>
          </p:cNvSpPr>
          <p:nvPr>
            <p:ph type="title"/>
          </p:nvPr>
        </p:nvSpPr>
        <p:spPr>
          <a:xfrm>
            <a:off x="495551" y="1268760"/>
            <a:ext cx="8229600" cy="936625"/>
          </a:xfrm>
        </p:spPr>
        <p:txBody>
          <a:bodyPr/>
          <a:lstStyle/>
          <a:p>
            <a:pPr algn="ctr"/>
            <a:r>
              <a:rPr lang="hu-HU" altLang="hu-HU" sz="2800" b="1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V</a:t>
            </a:r>
            <a:r>
              <a:rPr lang="hu-HU" altLang="hu-HU" sz="28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álaszok a gazdasági kihívásokra: </a:t>
            </a:r>
            <a:r>
              <a:rPr lang="hu-HU" altLang="hu-HU" sz="2800" b="1" dirty="0" smtClean="0">
                <a:solidFill>
                  <a:srgbClr val="A69765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hu-HU" altLang="hu-HU" sz="2800" b="1" dirty="0" smtClean="0">
                <a:solidFill>
                  <a:srgbClr val="A69765"/>
                </a:solidFill>
                <a:latin typeface="Times New Roman" pitchFamily="18" charset="0"/>
                <a:cs typeface="Times New Roman" pitchFamily="18" charset="0"/>
              </a:rPr>
            </a:br>
            <a:endParaRPr lang="hu-HU" altLang="hu-HU" sz="2800" b="1" dirty="0" smtClean="0">
              <a:solidFill>
                <a:srgbClr val="0070C0"/>
              </a:solidFill>
            </a:endParaRPr>
          </a:p>
        </p:txBody>
      </p:sp>
      <p:sp>
        <p:nvSpPr>
          <p:cNvPr id="30722" name="Tartalom helye 2"/>
          <p:cNvSpPr>
            <a:spLocks noGrp="1"/>
          </p:cNvSpPr>
          <p:nvPr>
            <p:ph idx="1"/>
          </p:nvPr>
        </p:nvSpPr>
        <p:spPr>
          <a:xfrm>
            <a:off x="323850" y="2565400"/>
            <a:ext cx="8229600" cy="3671888"/>
          </a:xfrm>
        </p:spPr>
        <p:txBody>
          <a:bodyPr/>
          <a:lstStyle/>
          <a:p>
            <a:pPr marL="914400" lvl="2" indent="0" algn="just">
              <a:spcBef>
                <a:spcPts val="1200"/>
              </a:spcBef>
              <a:spcAft>
                <a:spcPts val="1200"/>
              </a:spcAft>
              <a:buClr>
                <a:srgbClr val="A69765"/>
              </a:buClr>
              <a:buFont typeface="Arial" charset="0"/>
              <a:buNone/>
            </a:pPr>
            <a:endParaRPr lang="hu-HU" altLang="hu-HU" b="1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Font typeface="Arial" charset="0"/>
              <a:buNone/>
            </a:pPr>
            <a:endParaRPr lang="hu-HU" altLang="hu-HU" sz="2300" dirty="0" smtClean="0"/>
          </a:p>
        </p:txBody>
      </p:sp>
      <p:pic>
        <p:nvPicPr>
          <p:cNvPr id="2" name="Kép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893" y="3501008"/>
            <a:ext cx="2568899" cy="2160240"/>
          </a:xfrm>
          <a:prstGeom prst="rect">
            <a:avLst/>
          </a:prstGeom>
        </p:spPr>
      </p:pic>
      <p:sp>
        <p:nvSpPr>
          <p:cNvPr id="4" name="Szövegdoboz 3"/>
          <p:cNvSpPr txBox="1"/>
          <p:nvPr/>
        </p:nvSpPr>
        <p:spPr>
          <a:xfrm>
            <a:off x="2699792" y="2204864"/>
            <a:ext cx="6048672" cy="34317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0" lvl="1" indent="-4572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u-HU" altLang="hu-HU" sz="2300" b="1" dirty="0" smtClean="0">
                <a:latin typeface="Times New Roman" pitchFamily="18" charset="0"/>
                <a:cs typeface="Times New Roman" pitchFamily="18" charset="0"/>
              </a:rPr>
              <a:t>Gyakorlat orientált képzés </a:t>
            </a:r>
            <a:r>
              <a:rPr lang="hu-HU" altLang="hu-HU" sz="23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hu-HU" altLang="hu-HU" sz="2300" b="1" dirty="0" smtClean="0">
              <a:latin typeface="Times New Roman" pitchFamily="18" charset="0"/>
              <a:cs typeface="Times New Roman" pitchFamily="18" charset="0"/>
            </a:endParaRPr>
          </a:p>
          <a:p>
            <a:pPr marL="914400" lvl="1" indent="-4572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u-HU" altLang="hu-HU" sz="2300" b="1" dirty="0" smtClean="0">
                <a:latin typeface="Times New Roman" pitchFamily="18" charset="0"/>
                <a:cs typeface="Times New Roman" pitchFamily="18" charset="0"/>
              </a:rPr>
              <a:t>A </a:t>
            </a:r>
            <a:r>
              <a:rPr lang="hu-HU" altLang="hu-HU" sz="2300" b="1" dirty="0">
                <a:latin typeface="Times New Roman" pitchFamily="18" charset="0"/>
                <a:cs typeface="Times New Roman" pitchFamily="18" charset="0"/>
              </a:rPr>
              <a:t>duális képzés</a:t>
            </a:r>
            <a:r>
              <a:rPr lang="hu-HU" altLang="hu-HU" sz="2300" dirty="0">
                <a:latin typeface="Times New Roman" pitchFamily="18" charset="0"/>
                <a:cs typeface="Times New Roman" pitchFamily="18" charset="0"/>
              </a:rPr>
              <a:t>i struktúra </a:t>
            </a:r>
            <a:r>
              <a:rPr lang="hu-HU" altLang="hu-HU" sz="2300" dirty="0" smtClean="0">
                <a:latin typeface="Times New Roman" pitchFamily="18" charset="0"/>
                <a:cs typeface="Times New Roman" pitchFamily="18" charset="0"/>
              </a:rPr>
              <a:t>kiterjesztése </a:t>
            </a:r>
          </a:p>
          <a:p>
            <a:pPr lvl="1" algn="just">
              <a:spcBef>
                <a:spcPts val="600"/>
              </a:spcBef>
              <a:spcAft>
                <a:spcPts val="600"/>
              </a:spcAft>
            </a:pPr>
            <a:r>
              <a:rPr lang="hu-HU" altLang="hu-HU" sz="2400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Vállalatok képzésbe való bekapcsolódásának valós lehetőségeinek  a felmérése:</a:t>
            </a:r>
            <a:endParaRPr lang="hu-HU" altLang="hu-HU" sz="2400" i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914400" lvl="1" indent="-4572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u-HU" altLang="hu-HU" sz="2300" b="1" dirty="0" smtClean="0">
                <a:latin typeface="Times New Roman" pitchFamily="18" charset="0"/>
                <a:cs typeface="Times New Roman" pitchFamily="18" charset="0"/>
              </a:rPr>
              <a:t>Kérdőívek, interjúk kamarai segítséggel</a:t>
            </a:r>
            <a:endParaRPr lang="hu-HU" altLang="hu-HU" sz="2300" b="1" dirty="0">
              <a:latin typeface="Times New Roman" pitchFamily="18" charset="0"/>
              <a:cs typeface="Times New Roman" pitchFamily="18" charset="0"/>
            </a:endParaRPr>
          </a:p>
          <a:p>
            <a:endParaRPr lang="hu-HU" dirty="0"/>
          </a:p>
        </p:txBody>
      </p:sp>
      <p:sp>
        <p:nvSpPr>
          <p:cNvPr id="5" name="Szövegdoboz 4"/>
          <p:cNvSpPr txBox="1"/>
          <p:nvPr/>
        </p:nvSpPr>
        <p:spPr>
          <a:xfrm>
            <a:off x="127112" y="5661248"/>
            <a:ext cx="30251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500" dirty="0"/>
              <a:t>https://pixabay.com/hu/jogi-t%C3%B6rv%C3%A9ny-bekezd%C3%A9s-3d-s-f%C3%A9rfi-1498175</a:t>
            </a:r>
            <a:r>
              <a:rPr lang="hu-HU" dirty="0"/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2636792485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Cím 1"/>
          <p:cNvSpPr>
            <a:spLocks noGrp="1"/>
          </p:cNvSpPr>
          <p:nvPr>
            <p:ph type="title"/>
          </p:nvPr>
        </p:nvSpPr>
        <p:spPr>
          <a:xfrm>
            <a:off x="495551" y="1268760"/>
            <a:ext cx="8229600" cy="936625"/>
          </a:xfrm>
        </p:spPr>
        <p:txBody>
          <a:bodyPr/>
          <a:lstStyle/>
          <a:p>
            <a:pPr algn="ctr"/>
            <a:r>
              <a:rPr lang="hu-HU" altLang="hu-HU" sz="2800" b="1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V</a:t>
            </a:r>
            <a:r>
              <a:rPr lang="hu-HU" altLang="hu-HU" sz="28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álaszok a gazdasági kihívásokra: </a:t>
            </a:r>
            <a:r>
              <a:rPr lang="hu-HU" altLang="hu-HU" sz="2800" b="1" dirty="0" smtClean="0">
                <a:solidFill>
                  <a:srgbClr val="A69765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hu-HU" altLang="hu-HU" sz="2800" b="1" dirty="0" smtClean="0">
                <a:solidFill>
                  <a:srgbClr val="A69765"/>
                </a:solidFill>
                <a:latin typeface="Times New Roman" pitchFamily="18" charset="0"/>
                <a:cs typeface="Times New Roman" pitchFamily="18" charset="0"/>
              </a:rPr>
            </a:br>
            <a:endParaRPr lang="hu-HU" altLang="hu-HU" sz="2800" b="1" dirty="0" smtClean="0">
              <a:solidFill>
                <a:srgbClr val="0070C0"/>
              </a:solidFill>
            </a:endParaRPr>
          </a:p>
        </p:txBody>
      </p:sp>
      <p:sp>
        <p:nvSpPr>
          <p:cNvPr id="30722" name="Tartalom helye 2"/>
          <p:cNvSpPr>
            <a:spLocks noGrp="1"/>
          </p:cNvSpPr>
          <p:nvPr>
            <p:ph idx="1"/>
          </p:nvPr>
        </p:nvSpPr>
        <p:spPr>
          <a:xfrm>
            <a:off x="323850" y="2565400"/>
            <a:ext cx="8229600" cy="3671888"/>
          </a:xfrm>
        </p:spPr>
        <p:txBody>
          <a:bodyPr/>
          <a:lstStyle/>
          <a:p>
            <a:pPr marL="914400" lvl="2" indent="0" algn="just">
              <a:spcBef>
                <a:spcPts val="1200"/>
              </a:spcBef>
              <a:spcAft>
                <a:spcPts val="1200"/>
              </a:spcAft>
              <a:buClr>
                <a:srgbClr val="A69765"/>
              </a:buClr>
              <a:buFont typeface="Arial" charset="0"/>
              <a:buNone/>
            </a:pPr>
            <a:endParaRPr lang="hu-HU" altLang="hu-HU" b="1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Font typeface="Arial" charset="0"/>
              <a:buNone/>
            </a:pPr>
            <a:endParaRPr lang="hu-HU" altLang="hu-HU" sz="2300" dirty="0" smtClean="0"/>
          </a:p>
        </p:txBody>
      </p:sp>
      <p:pic>
        <p:nvPicPr>
          <p:cNvPr id="2" name="Kép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893" y="3501008"/>
            <a:ext cx="2568899" cy="2160240"/>
          </a:xfrm>
          <a:prstGeom prst="rect">
            <a:avLst/>
          </a:prstGeom>
        </p:spPr>
      </p:pic>
      <p:sp>
        <p:nvSpPr>
          <p:cNvPr id="4" name="Szövegdoboz 3"/>
          <p:cNvSpPr txBox="1"/>
          <p:nvPr/>
        </p:nvSpPr>
        <p:spPr>
          <a:xfrm>
            <a:off x="2699792" y="2204864"/>
            <a:ext cx="6048672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hu-HU" sz="2400" dirty="0"/>
              <a:t>Iskolarendszerben kompetenciák erősítése az oktatás során : </a:t>
            </a:r>
            <a:endParaRPr lang="hu-HU" sz="2400" dirty="0" smtClean="0"/>
          </a:p>
          <a:p>
            <a:r>
              <a:rPr lang="hu-HU" sz="2400" b="1" dirty="0" smtClean="0">
                <a:solidFill>
                  <a:srgbClr val="0070C0"/>
                </a:solidFill>
              </a:rPr>
              <a:t>alap </a:t>
            </a:r>
            <a:r>
              <a:rPr lang="hu-HU" sz="2400" b="1" dirty="0">
                <a:solidFill>
                  <a:srgbClr val="0070C0"/>
                </a:solidFill>
              </a:rPr>
              <a:t>– kulcskompetenciák</a:t>
            </a:r>
          </a:p>
          <a:p>
            <a:pPr lvl="7">
              <a:buFont typeface="Wingdings" panose="05000000000000000000" pitchFamily="2" charset="2"/>
              <a:buChar char="Ø"/>
            </a:pPr>
            <a:r>
              <a:rPr lang="hu-HU" sz="2400" b="1" dirty="0">
                <a:solidFill>
                  <a:srgbClr val="FF0000"/>
                </a:solidFill>
              </a:rPr>
              <a:t> ÁGAZATI KÉSZSÉGEK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hu-HU" sz="2400" dirty="0"/>
              <a:t>Beiskolázás</a:t>
            </a:r>
          </a:p>
          <a:p>
            <a:pPr lvl="2">
              <a:buFont typeface="Wingdings" panose="05000000000000000000" pitchFamily="2" charset="2"/>
              <a:buChar char="v"/>
            </a:pPr>
            <a:r>
              <a:rPr lang="hu-HU" sz="3200" b="1" dirty="0">
                <a:solidFill>
                  <a:schemeClr val="accent3">
                    <a:lumMod val="50000"/>
                  </a:schemeClr>
                </a:solidFill>
              </a:rPr>
              <a:t>Pályaorientáció</a:t>
            </a:r>
          </a:p>
          <a:p>
            <a:pPr lvl="2">
              <a:buFont typeface="Wingdings" panose="05000000000000000000" pitchFamily="2" charset="2"/>
              <a:buChar char="v"/>
            </a:pPr>
            <a:r>
              <a:rPr lang="hu-HU" sz="2400" dirty="0"/>
              <a:t>Pályaválasztás</a:t>
            </a:r>
          </a:p>
          <a:p>
            <a:pPr lvl="2">
              <a:buFont typeface="Wingdings" panose="05000000000000000000" pitchFamily="2" charset="2"/>
              <a:buChar char="v"/>
            </a:pPr>
            <a:r>
              <a:rPr lang="hu-HU" sz="2400" dirty="0"/>
              <a:t>Karrier tanácsadás</a:t>
            </a:r>
          </a:p>
          <a:p>
            <a:endParaRPr lang="hu-HU" dirty="0"/>
          </a:p>
        </p:txBody>
      </p:sp>
      <p:sp>
        <p:nvSpPr>
          <p:cNvPr id="5" name="Szövegdoboz 4"/>
          <p:cNvSpPr txBox="1"/>
          <p:nvPr/>
        </p:nvSpPr>
        <p:spPr>
          <a:xfrm>
            <a:off x="127112" y="5661248"/>
            <a:ext cx="30251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500" dirty="0"/>
              <a:t>https://pixabay.com/hu/jogi-t%C3%B6rv%C3%A9ny-bekezd%C3%A9s-3d-s-f%C3%A9rfi-1498175</a:t>
            </a:r>
            <a:r>
              <a:rPr lang="hu-HU" dirty="0"/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2224756689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1"/>
          <p:cNvSpPr>
            <a:spLocks noGrp="1"/>
          </p:cNvSpPr>
          <p:nvPr>
            <p:ph type="title"/>
          </p:nvPr>
        </p:nvSpPr>
        <p:spPr>
          <a:xfrm>
            <a:off x="467544" y="1268760"/>
            <a:ext cx="8229600" cy="504056"/>
          </a:xfrm>
        </p:spPr>
        <p:txBody>
          <a:bodyPr/>
          <a:lstStyle/>
          <a:p>
            <a:pPr algn="ctr"/>
            <a:r>
              <a:rPr lang="hu-HU" sz="28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OKJ változás</a:t>
            </a:r>
            <a:endParaRPr lang="hu-HU" sz="2600" b="1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Táblázat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9150183"/>
              </p:ext>
            </p:extLst>
          </p:nvPr>
        </p:nvGraphicFramePr>
        <p:xfrm>
          <a:off x="1161747" y="1772816"/>
          <a:ext cx="6984777" cy="323157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20280"/>
                <a:gridCol w="2136238"/>
                <a:gridCol w="2328259"/>
              </a:tblGrid>
              <a:tr h="648072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hu-HU" sz="2000" dirty="0">
                          <a:effectLst/>
                        </a:rPr>
                        <a:t>Szakképesítések</a:t>
                      </a:r>
                      <a:endParaRPr lang="hu-HU" sz="2000" dirty="0">
                        <a:effectLst/>
                        <a:latin typeface="Times New Roman"/>
                        <a:ea typeface="Times New Roman"/>
                        <a:cs typeface="Calibri"/>
                      </a:endParaRP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hu-HU" sz="2000" dirty="0">
                          <a:effectLst/>
                        </a:rPr>
                        <a:t>Régi OKJ (db)</a:t>
                      </a:r>
                      <a:endParaRPr lang="hu-HU" sz="2000" dirty="0">
                        <a:effectLst/>
                        <a:latin typeface="Times New Roman"/>
                        <a:ea typeface="Times New Roman"/>
                        <a:cs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hu-HU" sz="2000">
                          <a:effectLst/>
                        </a:rPr>
                        <a:t>Új OKJ (db)</a:t>
                      </a:r>
                      <a:endParaRPr lang="hu-HU" sz="2000">
                        <a:effectLst/>
                        <a:latin typeface="Times New Roman"/>
                        <a:ea typeface="Times New Roman"/>
                        <a:cs typeface="Calibri"/>
                      </a:endParaRPr>
                    </a:p>
                  </a:txBody>
                  <a:tcPr marL="68580" marR="68580" marT="0" marB="0" anchor="ctr"/>
                </a:tc>
              </a:tr>
              <a:tr h="82445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u-HU" sz="2000" baseline="0" dirty="0" err="1">
                          <a:solidFill>
                            <a:schemeClr val="tx1"/>
                          </a:solidFill>
                          <a:effectLst/>
                        </a:rPr>
                        <a:t>részszakképesítés</a:t>
                      </a:r>
                      <a:r>
                        <a:rPr lang="hu-HU" sz="2000" baseline="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u-HU" sz="2000" baseline="0" dirty="0">
                          <a:solidFill>
                            <a:schemeClr val="tx1"/>
                          </a:solidFill>
                          <a:effectLst/>
                        </a:rPr>
                        <a:t>(21, 31, 51)</a:t>
                      </a:r>
                      <a:endParaRPr lang="hu-HU" sz="2000" baseline="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  <a:cs typeface="Calibri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u-HU" sz="2000" dirty="0">
                          <a:effectLst/>
                        </a:rPr>
                        <a:t>152</a:t>
                      </a:r>
                      <a:endParaRPr lang="hu-HU" sz="2000" dirty="0">
                        <a:effectLst/>
                        <a:latin typeface="Times New Roman"/>
                        <a:ea typeface="Times New Roman"/>
                        <a:cs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u-HU" sz="2000" dirty="0" smtClean="0">
                          <a:effectLst/>
                        </a:rPr>
                        <a:t>203</a:t>
                      </a:r>
                      <a:endParaRPr lang="hu-HU" sz="2000" dirty="0">
                        <a:effectLst/>
                        <a:latin typeface="Times New Roman"/>
                        <a:ea typeface="Times New Roman"/>
                        <a:cs typeface="Calibri"/>
                      </a:endParaRPr>
                    </a:p>
                  </a:txBody>
                  <a:tcPr marL="68580" marR="68580" marT="0" marB="0" anchor="ctr"/>
                </a:tc>
              </a:tr>
              <a:tr h="79208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u-HU" sz="2000" baseline="0" dirty="0">
                          <a:solidFill>
                            <a:schemeClr val="tx1"/>
                          </a:solidFill>
                          <a:effectLst/>
                        </a:rPr>
                        <a:t>szakképesítés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u-HU" sz="2000" baseline="0" dirty="0">
                          <a:solidFill>
                            <a:schemeClr val="tx1"/>
                          </a:solidFill>
                          <a:effectLst/>
                        </a:rPr>
                        <a:t>(32, 34, 52, 54, 62)</a:t>
                      </a:r>
                      <a:endParaRPr lang="hu-HU" sz="2000" baseline="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  <a:cs typeface="Calibri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u-HU" sz="2000" dirty="0">
                          <a:effectLst/>
                        </a:rPr>
                        <a:t>289</a:t>
                      </a:r>
                      <a:endParaRPr lang="hu-HU" sz="2000" dirty="0">
                        <a:effectLst/>
                        <a:latin typeface="Times New Roman"/>
                        <a:ea typeface="Times New Roman"/>
                        <a:cs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u-HU" sz="2000" dirty="0" smtClean="0">
                          <a:effectLst/>
                        </a:rPr>
                        <a:t>338</a:t>
                      </a:r>
                      <a:endParaRPr lang="hu-HU" sz="2000" dirty="0">
                        <a:effectLst/>
                        <a:latin typeface="Times New Roman"/>
                        <a:ea typeface="Times New Roman"/>
                        <a:cs typeface="Calibri"/>
                      </a:endParaRPr>
                    </a:p>
                  </a:txBody>
                  <a:tcPr marL="68580" marR="68580" marT="0" marB="0" anchor="ctr"/>
                </a:tc>
              </a:tr>
              <a:tr h="96696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u-HU" sz="2000" baseline="0" dirty="0">
                          <a:solidFill>
                            <a:schemeClr val="tx1"/>
                          </a:solidFill>
                          <a:effectLst/>
                        </a:rPr>
                        <a:t>szakképesítés-ráépülés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u-HU" sz="2000" baseline="0" dirty="0">
                          <a:solidFill>
                            <a:schemeClr val="tx1"/>
                          </a:solidFill>
                          <a:effectLst/>
                        </a:rPr>
                        <a:t>(33, 35, 53, 55)</a:t>
                      </a:r>
                      <a:endParaRPr lang="hu-HU" sz="2000" baseline="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  <a:cs typeface="Calibri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u-HU" sz="2000">
                          <a:effectLst/>
                        </a:rPr>
                        <a:t>200</a:t>
                      </a:r>
                      <a:endParaRPr lang="hu-HU" sz="2000">
                        <a:effectLst/>
                        <a:latin typeface="Times New Roman"/>
                        <a:ea typeface="Times New Roman"/>
                        <a:cs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hu-HU" sz="2000" dirty="0" smtClean="0">
                          <a:effectLst/>
                        </a:rPr>
                        <a:t>218</a:t>
                      </a:r>
                      <a:endParaRPr lang="hu-HU" sz="2000" dirty="0">
                        <a:effectLst/>
                        <a:latin typeface="Times New Roman"/>
                        <a:ea typeface="Times New Roman"/>
                        <a:cs typeface="Calibri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6" name="Szövegdoboz 5"/>
          <p:cNvSpPr txBox="1"/>
          <p:nvPr/>
        </p:nvSpPr>
        <p:spPr>
          <a:xfrm>
            <a:off x="989896" y="5560170"/>
            <a:ext cx="743107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2400" b="1" dirty="0" smtClean="0">
                <a:latin typeface="Times New Roman" pitchFamily="18" charset="0"/>
                <a:cs typeface="Times New Roman" pitchFamily="18" charset="0"/>
              </a:rPr>
              <a:t>- 59 db új, iskolai rendszerben oktatható szakképesítés</a:t>
            </a:r>
          </a:p>
          <a:p>
            <a:r>
              <a:rPr lang="hu-HU" sz="2400" b="1" dirty="0" smtClean="0">
                <a:latin typeface="Times New Roman" pitchFamily="18" charset="0"/>
                <a:cs typeface="Times New Roman" pitchFamily="18" charset="0"/>
              </a:rPr>
              <a:t>- szakmai tartalmi korszerűsítések</a:t>
            </a:r>
            <a:endParaRPr lang="hu-HU" sz="24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3733161"/>
      </p:ext>
    </p:extLst>
  </p:cSld>
  <p:clrMapOvr>
    <a:masterClrMapping/>
  </p:clrMapOvr>
  <p:transition spd="med">
    <p:wipe dir="d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1"/>
          <p:cNvSpPr>
            <a:spLocks noGrp="1"/>
          </p:cNvSpPr>
          <p:nvPr>
            <p:ph type="title"/>
          </p:nvPr>
        </p:nvSpPr>
        <p:spPr>
          <a:xfrm>
            <a:off x="467544" y="1268760"/>
            <a:ext cx="8229600" cy="504056"/>
          </a:xfrm>
        </p:spPr>
        <p:txBody>
          <a:bodyPr/>
          <a:lstStyle/>
          <a:p>
            <a:pPr algn="ctr"/>
            <a:r>
              <a:rPr lang="hu-HU" sz="28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OKJ változása nem elégíti ki az ipar elvárását</a:t>
            </a:r>
            <a:endParaRPr lang="hu-HU" sz="2600" b="1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Téglalap 1"/>
          <p:cNvSpPr/>
          <p:nvPr/>
        </p:nvSpPr>
        <p:spPr>
          <a:xfrm>
            <a:off x="971600" y="2276872"/>
            <a:ext cx="4752528" cy="86409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" name="Téglalap 2"/>
          <p:cNvSpPr/>
          <p:nvPr/>
        </p:nvSpPr>
        <p:spPr>
          <a:xfrm>
            <a:off x="1004893" y="3789040"/>
            <a:ext cx="2376264" cy="8640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7" name="Téglalap 6"/>
          <p:cNvSpPr/>
          <p:nvPr/>
        </p:nvSpPr>
        <p:spPr>
          <a:xfrm>
            <a:off x="3347864" y="2276872"/>
            <a:ext cx="1224136" cy="864096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8" name="Lefelé nyíl 7"/>
          <p:cNvSpPr/>
          <p:nvPr/>
        </p:nvSpPr>
        <p:spPr>
          <a:xfrm>
            <a:off x="2051720" y="3140968"/>
            <a:ext cx="141305" cy="50405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9" name="Téglalap 8"/>
          <p:cNvSpPr/>
          <p:nvPr/>
        </p:nvSpPr>
        <p:spPr>
          <a:xfrm>
            <a:off x="3439989" y="4653136"/>
            <a:ext cx="1224136" cy="864096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0" name="Lefelé nyíl 9"/>
          <p:cNvSpPr/>
          <p:nvPr/>
        </p:nvSpPr>
        <p:spPr>
          <a:xfrm>
            <a:off x="3959932" y="3140968"/>
            <a:ext cx="92125" cy="129614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" name="Téglalap 10"/>
          <p:cNvSpPr/>
          <p:nvPr/>
        </p:nvSpPr>
        <p:spPr>
          <a:xfrm>
            <a:off x="5724128" y="2276872"/>
            <a:ext cx="288032" cy="381642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wordArtVert" rtlCol="0" anchor="ctr"/>
          <a:lstStyle/>
          <a:p>
            <a:pPr algn="ctr"/>
            <a:r>
              <a:rPr lang="hu-HU" dirty="0" smtClean="0">
                <a:solidFill>
                  <a:schemeClr val="tx1"/>
                </a:solidFill>
              </a:rPr>
              <a:t>VIZSGA</a:t>
            </a:r>
            <a:endParaRPr lang="hu-HU" dirty="0">
              <a:solidFill>
                <a:schemeClr val="tx1"/>
              </a:solidFill>
            </a:endParaRPr>
          </a:p>
        </p:txBody>
      </p:sp>
      <p:sp>
        <p:nvSpPr>
          <p:cNvPr id="13" name="Téglalap 12"/>
          <p:cNvSpPr/>
          <p:nvPr/>
        </p:nvSpPr>
        <p:spPr>
          <a:xfrm>
            <a:off x="4572000" y="2276872"/>
            <a:ext cx="1152128" cy="86409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4" name="Téglalap 13"/>
          <p:cNvSpPr/>
          <p:nvPr/>
        </p:nvSpPr>
        <p:spPr>
          <a:xfrm>
            <a:off x="4572000" y="3557873"/>
            <a:ext cx="1152128" cy="86409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5" name="Lefelé nyíl 14"/>
          <p:cNvSpPr/>
          <p:nvPr/>
        </p:nvSpPr>
        <p:spPr>
          <a:xfrm>
            <a:off x="5004048" y="3140968"/>
            <a:ext cx="144016" cy="25202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6" name="Jobbra nyíl 15"/>
          <p:cNvSpPr/>
          <p:nvPr/>
        </p:nvSpPr>
        <p:spPr>
          <a:xfrm>
            <a:off x="1004893" y="5877272"/>
            <a:ext cx="4503211" cy="216024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7" name="Ellipszis 16"/>
          <p:cNvSpPr/>
          <p:nvPr/>
        </p:nvSpPr>
        <p:spPr>
          <a:xfrm>
            <a:off x="107504" y="3939948"/>
            <a:ext cx="720080" cy="68407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800" dirty="0" smtClean="0"/>
              <a:t>B</a:t>
            </a:r>
            <a:endParaRPr lang="hu-HU" sz="2800" dirty="0"/>
          </a:p>
        </p:txBody>
      </p:sp>
      <p:sp>
        <p:nvSpPr>
          <p:cNvPr id="18" name="Ellipszis 17"/>
          <p:cNvSpPr/>
          <p:nvPr/>
        </p:nvSpPr>
        <p:spPr>
          <a:xfrm>
            <a:off x="107504" y="2276872"/>
            <a:ext cx="1008112" cy="86409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000" b="1" dirty="0" smtClean="0">
                <a:solidFill>
                  <a:schemeClr val="bg1"/>
                </a:solidFill>
              </a:rPr>
              <a:t>OKJ</a:t>
            </a:r>
            <a:endParaRPr lang="hu-HU" sz="2000" b="1" dirty="0">
              <a:solidFill>
                <a:schemeClr val="bg1"/>
              </a:solidFill>
            </a:endParaRPr>
          </a:p>
        </p:txBody>
      </p:sp>
      <p:sp>
        <p:nvSpPr>
          <p:cNvPr id="20" name="Ellipszis 19"/>
          <p:cNvSpPr/>
          <p:nvPr/>
        </p:nvSpPr>
        <p:spPr>
          <a:xfrm>
            <a:off x="6280538" y="2384884"/>
            <a:ext cx="2736304" cy="648072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>
                <a:solidFill>
                  <a:schemeClr val="tx1"/>
                </a:solidFill>
              </a:rPr>
              <a:t>Iskolarendszerű képzés</a:t>
            </a:r>
            <a:endParaRPr lang="hu-HU" dirty="0">
              <a:solidFill>
                <a:schemeClr val="tx1"/>
              </a:solidFill>
            </a:endParaRPr>
          </a:p>
        </p:txBody>
      </p:sp>
      <p:sp>
        <p:nvSpPr>
          <p:cNvPr id="21" name="Ellipszis 20"/>
          <p:cNvSpPr/>
          <p:nvPr/>
        </p:nvSpPr>
        <p:spPr>
          <a:xfrm>
            <a:off x="6281145" y="3957950"/>
            <a:ext cx="2736304" cy="648072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mtClean="0">
                <a:solidFill>
                  <a:schemeClr val="tx1"/>
                </a:solidFill>
              </a:rPr>
              <a:t>Felnőttképzés</a:t>
            </a:r>
            <a:endParaRPr lang="hu-HU" dirty="0">
              <a:solidFill>
                <a:schemeClr val="tx1"/>
              </a:solidFill>
            </a:endParaRPr>
          </a:p>
        </p:txBody>
      </p:sp>
      <p:sp>
        <p:nvSpPr>
          <p:cNvPr id="23" name="Téglalap 22"/>
          <p:cNvSpPr/>
          <p:nvPr/>
        </p:nvSpPr>
        <p:spPr>
          <a:xfrm>
            <a:off x="6660232" y="4941168"/>
            <a:ext cx="2016224" cy="1296144"/>
          </a:xfrm>
          <a:prstGeom prst="rect">
            <a:avLst/>
          </a:prstGeom>
          <a:solidFill>
            <a:schemeClr val="bg1"/>
          </a:solidFill>
          <a:ln w="57150"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4" name="Szövegdoboz 23"/>
          <p:cNvSpPr txBox="1"/>
          <p:nvPr/>
        </p:nvSpPr>
        <p:spPr>
          <a:xfrm>
            <a:off x="6804248" y="5085184"/>
            <a:ext cx="17281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 smtClean="0"/>
              <a:t>Képzési idő !</a:t>
            </a:r>
            <a:endParaRPr lang="hu-HU" dirty="0"/>
          </a:p>
        </p:txBody>
      </p:sp>
      <p:sp>
        <p:nvSpPr>
          <p:cNvPr id="25" name="Szövegdoboz 24"/>
          <p:cNvSpPr txBox="1"/>
          <p:nvPr/>
        </p:nvSpPr>
        <p:spPr>
          <a:xfrm>
            <a:off x="6948264" y="5589240"/>
            <a:ext cx="1296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 smtClean="0"/>
              <a:t>Tartalom !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046180514"/>
      </p:ext>
    </p:extLst>
  </p:cSld>
  <p:clrMapOvr>
    <a:masterClrMapping/>
  </p:clrMapOvr>
  <p:transition spd="med">
    <p:wipe dir="d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7544" y="908720"/>
            <a:ext cx="8229600" cy="792088"/>
          </a:xfrm>
        </p:spPr>
        <p:txBody>
          <a:bodyPr/>
          <a:lstStyle/>
          <a:p>
            <a:pPr algn="ctr"/>
            <a:r>
              <a:rPr lang="hu-HU" sz="28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A szakképzésbe történő belépési lehetőségek bővítése</a:t>
            </a:r>
            <a:endParaRPr lang="hu-HU" sz="2800" b="1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sz="quarter" idx="1"/>
          </p:nvPr>
        </p:nvSpPr>
        <p:spPr>
          <a:xfrm>
            <a:off x="457200" y="1772816"/>
            <a:ext cx="8229600" cy="4384144"/>
          </a:xfrm>
        </p:spPr>
        <p:txBody>
          <a:bodyPr/>
          <a:lstStyle/>
          <a:p>
            <a:pPr marL="342900" indent="-342900" algn="just">
              <a:buClrTx/>
              <a:buFont typeface="Arial" panose="020B0604020202020204" pitchFamily="34" charset="0"/>
              <a:buChar char="•"/>
            </a:pPr>
            <a:r>
              <a:rPr lang="hu-HU" sz="2400" b="1" dirty="0">
                <a:latin typeface="Times New Roman" pitchFamily="18" charset="0"/>
                <a:cs typeface="Times New Roman" pitchFamily="18" charset="0"/>
              </a:rPr>
              <a:t>Nappali rendszerű iskolai képzésekben</a:t>
            </a:r>
            <a:r>
              <a:rPr lang="hu-HU" sz="2400" dirty="0">
                <a:latin typeface="Times New Roman" pitchFamily="18" charset="0"/>
                <a:cs typeface="Times New Roman" pitchFamily="18" charset="0"/>
              </a:rPr>
              <a:t> történő részvétel </a:t>
            </a:r>
            <a:r>
              <a:rPr lang="hu-HU" sz="2400" b="1" dirty="0">
                <a:latin typeface="Times New Roman" pitchFamily="18" charset="0"/>
                <a:cs typeface="Times New Roman" pitchFamily="18" charset="0"/>
              </a:rPr>
              <a:t>25 éves korig</a:t>
            </a:r>
            <a:r>
              <a:rPr lang="hu-HU" sz="2400" dirty="0">
                <a:latin typeface="Times New Roman" pitchFamily="18" charset="0"/>
                <a:cs typeface="Times New Roman" pitchFamily="18" charset="0"/>
              </a:rPr>
              <a:t>, 25 éves kortól felnőttoktatás keretében </a:t>
            </a:r>
            <a:endParaRPr lang="hu-HU" sz="2400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 algn="just">
              <a:buClrTx/>
              <a:buNone/>
            </a:pPr>
            <a:endParaRPr lang="hu-HU" sz="2400" dirty="0">
              <a:latin typeface="Times New Roman" pitchFamily="18" charset="0"/>
              <a:cs typeface="Times New Roman" pitchFamily="18" charset="0"/>
            </a:endParaRPr>
          </a:p>
          <a:p>
            <a:pPr marL="342900" indent="-342900" algn="just">
              <a:buClrTx/>
              <a:buFont typeface="Arial" panose="020B0604020202020204" pitchFamily="34" charset="0"/>
              <a:buChar char="•"/>
            </a:pPr>
            <a:r>
              <a:rPr lang="hu-HU" sz="2400" b="1" dirty="0" smtClean="0">
                <a:latin typeface="Times New Roman" pitchFamily="18" charset="0"/>
                <a:ea typeface="+mj-ea"/>
                <a:cs typeface="Times New Roman" pitchFamily="18" charset="0"/>
              </a:rPr>
              <a:t>Második </a:t>
            </a:r>
            <a:r>
              <a:rPr lang="hu-HU" sz="2400" b="1" dirty="0">
                <a:latin typeface="Times New Roman" pitchFamily="18" charset="0"/>
                <a:ea typeface="+mj-ea"/>
                <a:cs typeface="Times New Roman" pitchFamily="18" charset="0"/>
              </a:rPr>
              <a:t>ingyenes szakképesítés </a:t>
            </a:r>
            <a:r>
              <a:rPr lang="hu-HU" sz="2400" dirty="0">
                <a:latin typeface="Times New Roman" pitchFamily="18" charset="0"/>
                <a:ea typeface="+mj-ea"/>
                <a:cs typeface="Times New Roman" pitchFamily="18" charset="0"/>
              </a:rPr>
              <a:t>megszerzésének lehetősége a felnőttoktatás esti, levelező munkarendben meghirdetett képzései keretében (szakképesítés-elágazás, szakképesítés ráépülés nem számít második szakképesítésnek!)</a:t>
            </a:r>
          </a:p>
          <a:p>
            <a:pPr marL="0" indent="0">
              <a:buClrTx/>
              <a:buNone/>
            </a:pPr>
            <a:r>
              <a:rPr lang="hu-HU" sz="2300" dirty="0" smtClean="0"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4581128"/>
            <a:ext cx="2952328" cy="21534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39982720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1196752"/>
            <a:ext cx="8229600" cy="864096"/>
          </a:xfrm>
        </p:spPr>
        <p:txBody>
          <a:bodyPr/>
          <a:lstStyle/>
          <a:p>
            <a:pPr algn="ctr" eaLnBrk="1" hangingPunct="1">
              <a:defRPr/>
            </a:pPr>
            <a:r>
              <a:rPr lang="hu-HU" sz="2800" b="1" dirty="0" smtClean="0">
                <a:solidFill>
                  <a:srgbClr val="A69765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/>
            </a:r>
            <a:br>
              <a:rPr lang="hu-HU" sz="2800" b="1" dirty="0" smtClean="0">
                <a:solidFill>
                  <a:srgbClr val="A69765"/>
                </a:solidFill>
                <a:latin typeface="Times New Roman" pitchFamily="18" charset="0"/>
                <a:ea typeface="+mn-ea"/>
                <a:cs typeface="Times New Roman" pitchFamily="18" charset="0"/>
              </a:rPr>
            </a:br>
            <a:r>
              <a:rPr lang="hu-HU" sz="2800" b="1" dirty="0">
                <a:solidFill>
                  <a:srgbClr val="A69765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/>
            </a:r>
            <a:br>
              <a:rPr lang="hu-HU" sz="2800" b="1" dirty="0">
                <a:solidFill>
                  <a:srgbClr val="A69765"/>
                </a:solidFill>
                <a:latin typeface="Times New Roman" pitchFamily="18" charset="0"/>
                <a:ea typeface="+mn-ea"/>
                <a:cs typeface="Times New Roman" pitchFamily="18" charset="0"/>
              </a:rPr>
            </a:br>
            <a:r>
              <a:rPr lang="hu-HU" sz="2800" b="1" dirty="0" smtClean="0">
                <a:solidFill>
                  <a:srgbClr val="A69765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/>
            </a:r>
            <a:br>
              <a:rPr lang="hu-HU" sz="2800" b="1" dirty="0" smtClean="0">
                <a:solidFill>
                  <a:srgbClr val="A69765"/>
                </a:solidFill>
                <a:latin typeface="Times New Roman" pitchFamily="18" charset="0"/>
                <a:ea typeface="+mn-ea"/>
                <a:cs typeface="Times New Roman" pitchFamily="18" charset="0"/>
              </a:rPr>
            </a:br>
            <a:r>
              <a:rPr lang="hu-HU" sz="2800" b="1" dirty="0">
                <a:solidFill>
                  <a:srgbClr val="A69765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/>
            </a:r>
            <a:br>
              <a:rPr lang="hu-HU" sz="2800" b="1" dirty="0">
                <a:solidFill>
                  <a:srgbClr val="A69765"/>
                </a:solidFill>
                <a:latin typeface="Times New Roman" pitchFamily="18" charset="0"/>
                <a:ea typeface="+mn-ea"/>
                <a:cs typeface="Times New Roman" pitchFamily="18" charset="0"/>
              </a:rPr>
            </a:br>
            <a:r>
              <a:rPr lang="hu-HU" sz="2800" b="1" dirty="0" smtClean="0">
                <a:solidFill>
                  <a:srgbClr val="A69765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/>
            </a:r>
            <a:br>
              <a:rPr lang="hu-HU" sz="2800" b="1" dirty="0" smtClean="0">
                <a:solidFill>
                  <a:srgbClr val="A69765"/>
                </a:solidFill>
                <a:latin typeface="Times New Roman" pitchFamily="18" charset="0"/>
                <a:ea typeface="+mn-ea"/>
                <a:cs typeface="Times New Roman" pitchFamily="18" charset="0"/>
              </a:rPr>
            </a:br>
            <a:r>
              <a:rPr lang="hu-HU" sz="2800" b="1" dirty="0">
                <a:solidFill>
                  <a:srgbClr val="A69765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/>
            </a:r>
            <a:br>
              <a:rPr lang="hu-HU" sz="2800" b="1" dirty="0">
                <a:solidFill>
                  <a:srgbClr val="A69765"/>
                </a:solidFill>
                <a:latin typeface="Times New Roman" pitchFamily="18" charset="0"/>
                <a:ea typeface="+mn-ea"/>
                <a:cs typeface="Times New Roman" pitchFamily="18" charset="0"/>
              </a:rPr>
            </a:br>
            <a:r>
              <a:rPr lang="hu-HU" sz="2800" b="1" dirty="0" smtClean="0">
                <a:solidFill>
                  <a:srgbClr val="A69765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/>
            </a:r>
            <a:br>
              <a:rPr lang="hu-HU" sz="2800" b="1" dirty="0" smtClean="0">
                <a:solidFill>
                  <a:srgbClr val="A69765"/>
                </a:solidFill>
                <a:latin typeface="Times New Roman" pitchFamily="18" charset="0"/>
                <a:ea typeface="+mn-ea"/>
                <a:cs typeface="Times New Roman" pitchFamily="18" charset="0"/>
              </a:rPr>
            </a:br>
            <a:r>
              <a:rPr lang="hu-HU" sz="2800" b="1" dirty="0">
                <a:solidFill>
                  <a:srgbClr val="A69765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/>
            </a:r>
            <a:br>
              <a:rPr lang="hu-HU" sz="2800" b="1" dirty="0">
                <a:solidFill>
                  <a:srgbClr val="A69765"/>
                </a:solidFill>
                <a:latin typeface="Times New Roman" pitchFamily="18" charset="0"/>
                <a:ea typeface="+mn-ea"/>
                <a:cs typeface="Times New Roman" pitchFamily="18" charset="0"/>
              </a:rPr>
            </a:br>
            <a:r>
              <a:rPr lang="hu-HU" sz="2800" b="1" dirty="0" smtClean="0">
                <a:solidFill>
                  <a:srgbClr val="A69765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/>
            </a:r>
            <a:br>
              <a:rPr lang="hu-HU" sz="2800" b="1" dirty="0" smtClean="0">
                <a:solidFill>
                  <a:srgbClr val="A69765"/>
                </a:solidFill>
                <a:latin typeface="Times New Roman" pitchFamily="18" charset="0"/>
                <a:ea typeface="+mn-ea"/>
                <a:cs typeface="Times New Roman" pitchFamily="18" charset="0"/>
              </a:rPr>
            </a:br>
            <a:r>
              <a:rPr lang="hu-HU" sz="2800" b="1" dirty="0">
                <a:solidFill>
                  <a:srgbClr val="A69765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/>
            </a:r>
            <a:br>
              <a:rPr lang="hu-HU" sz="2800" b="1" dirty="0">
                <a:solidFill>
                  <a:srgbClr val="A69765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r>
              <a:rPr lang="hu-HU" sz="2800" b="1" dirty="0" smtClean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Az ingyenes második szakma hatása: </a:t>
            </a:r>
            <a:br>
              <a:rPr lang="hu-HU" sz="2800" b="1" dirty="0" smtClean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r>
              <a:rPr lang="hu-HU" sz="2800" b="1" dirty="0" smtClean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Felnőttoktatási  adatok: 2016 ősz-2017 tavasz    </a:t>
            </a:r>
            <a:endParaRPr lang="hu-HU" sz="2800" b="1" dirty="0">
              <a:solidFill>
                <a:schemeClr val="accent2">
                  <a:lumMod val="7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sz="quarter" idx="1"/>
          </p:nvPr>
        </p:nvSpPr>
        <p:spPr>
          <a:xfrm>
            <a:off x="467544" y="1920240"/>
            <a:ext cx="8229600" cy="4937760"/>
          </a:xfrm>
        </p:spPr>
        <p:txBody>
          <a:bodyPr/>
          <a:lstStyle/>
          <a:p>
            <a:endParaRPr lang="hu-HU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hu-H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16 ősz: 38 927 fő </a:t>
            </a:r>
          </a:p>
          <a:p>
            <a:r>
              <a:rPr lang="hu-H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17 tavasz-keresztfélév: 6511 fő </a:t>
            </a:r>
          </a:p>
          <a:p>
            <a:endParaRPr lang="hu-HU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hu-H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épszerű szakmák</a:t>
            </a:r>
            <a:r>
              <a:rPr lang="hu-H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  </a:t>
            </a:r>
            <a:endParaRPr lang="hu-H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hu-H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zakács</a:t>
            </a:r>
          </a:p>
          <a:p>
            <a:r>
              <a:rPr lang="hu-H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egesztő</a:t>
            </a:r>
          </a:p>
          <a:p>
            <a:r>
              <a:rPr lang="hu-H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ukrász</a:t>
            </a:r>
          </a:p>
          <a:p>
            <a:r>
              <a:rPr lang="hu-H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yakorló ápoló </a:t>
            </a:r>
          </a:p>
          <a:p>
            <a:r>
              <a:rPr lang="hu-H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énzügyi-számviteli ügyintéző</a:t>
            </a:r>
          </a:p>
        </p:txBody>
      </p:sp>
    </p:spTree>
    <p:extLst>
      <p:ext uri="{BB962C8B-B14F-4D97-AF65-F5344CB8AC3E}">
        <p14:creationId xmlns:p14="http://schemas.microsoft.com/office/powerpoint/2010/main" val="2499397427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95536" y="1196752"/>
            <a:ext cx="8219256" cy="594320"/>
          </a:xfrm>
        </p:spPr>
        <p:txBody>
          <a:bodyPr/>
          <a:lstStyle/>
          <a:p>
            <a:pPr algn="ctr"/>
            <a:r>
              <a:rPr lang="hu-HU" altLang="hu-HU" sz="2800" b="1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H</a:t>
            </a:r>
            <a:r>
              <a:rPr lang="hu-HU" altLang="hu-HU" sz="28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ídprogram</a:t>
            </a:r>
            <a:endParaRPr lang="hu-HU" sz="2800" b="1" dirty="0">
              <a:solidFill>
                <a:schemeClr val="accent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sz="quarter" idx="1"/>
          </p:nvPr>
        </p:nvSpPr>
        <p:spPr>
          <a:xfrm>
            <a:off x="539552" y="2060848"/>
            <a:ext cx="8147248" cy="4096112"/>
          </a:xfrm>
        </p:spPr>
        <p:txBody>
          <a:bodyPr/>
          <a:lstStyle/>
          <a:p>
            <a:endParaRPr lang="hu-HU" dirty="0" smtClean="0"/>
          </a:p>
          <a:p>
            <a:r>
              <a:rPr lang="hu-H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ídprogram: </a:t>
            </a:r>
            <a:r>
              <a:rPr lang="hu-HU" dirty="0">
                <a:latin typeface="Times New Roman" panose="02020603050405020304" pitchFamily="18" charset="0"/>
                <a:cs typeface="Times New Roman" panose="02020603050405020304" pitchFamily="18" charset="0"/>
              </a:rPr>
              <a:t>az EU 2020 szerinti irányelveknek megfelelően a korai iskolaelhagyás arányát sikeresen mérsékelő oktatási formaként jelenik meg</a:t>
            </a:r>
          </a:p>
          <a:p>
            <a:endParaRPr lang="hu-H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hu-HU" dirty="0">
                <a:latin typeface="Times New Roman" panose="02020603050405020304" pitchFamily="18" charset="0"/>
                <a:cs typeface="Times New Roman" panose="02020603050405020304" pitchFamily="18" charset="0"/>
              </a:rPr>
              <a:t>A Szakképzési </a:t>
            </a:r>
            <a:r>
              <a:rPr lang="hu-H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ídprogram:lemorzsolódott </a:t>
            </a:r>
            <a:r>
              <a:rPr lang="hu-HU" dirty="0">
                <a:latin typeface="Times New Roman" panose="02020603050405020304" pitchFamily="18" charset="0"/>
                <a:cs typeface="Times New Roman" panose="02020603050405020304" pitchFamily="18" charset="0"/>
              </a:rPr>
              <a:t>vagy az iskolai kudarcok miatt lassabban haladó, - általános iskolai végzettség nélküli - </a:t>
            </a:r>
            <a:r>
              <a:rPr lang="hu-H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atalok</a:t>
            </a:r>
            <a:endParaRPr lang="hu-H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hu-HU" dirty="0"/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365408427"/>
      </p:ext>
    </p:extLst>
  </p:cSld>
  <p:clrMapOvr>
    <a:masterClrMapping/>
  </p:clrMapOvr>
  <p:transition spd="med">
    <p:wipe dir="d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doboz 3"/>
          <p:cNvSpPr txBox="1"/>
          <p:nvPr/>
        </p:nvSpPr>
        <p:spPr>
          <a:xfrm>
            <a:off x="2699792" y="1096961"/>
            <a:ext cx="374441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 sz="140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+mn-lt"/>
                <a:ea typeface="+mn-ea"/>
                <a:cs typeface="+mn-cs"/>
              </a:defRPr>
            </a:pPr>
            <a:r>
              <a:rPr lang="hu-HU" sz="2000" b="1" dirty="0">
                <a:solidFill>
                  <a:srgbClr val="A69765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A foglalkoztatottak létszámának és a 15–64 évesek foglalkoztatási rátájának alakulása</a:t>
            </a:r>
          </a:p>
        </p:txBody>
      </p:sp>
      <p:graphicFrame>
        <p:nvGraphicFramePr>
          <p:cNvPr id="6" name="Chart 8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55040023"/>
              </p:ext>
            </p:extLst>
          </p:nvPr>
        </p:nvGraphicFramePr>
        <p:xfrm>
          <a:off x="387350" y="1244600"/>
          <a:ext cx="8310563" cy="5280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28852572"/>
      </p:ext>
    </p:extLst>
  </p:cSld>
  <p:clrMapOvr>
    <a:masterClrMapping/>
  </p:clrMapOvr>
  <p:transition spd="med">
    <p:wipe dir="d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Diagram 4"/>
          <p:cNvPicPr>
            <a:picLocks noChangeArrowheads="1"/>
          </p:cNvPicPr>
          <p:nvPr/>
        </p:nvPicPr>
        <p:blipFill>
          <a:blip r:embed="rId2" cstate="print"/>
          <a:srcRect b="-137"/>
          <a:stretch>
            <a:fillRect/>
          </a:stretch>
        </p:blipFill>
        <p:spPr bwMode="auto">
          <a:xfrm>
            <a:off x="2478208" y="1184889"/>
            <a:ext cx="4860032" cy="259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zövegdoboz 5"/>
          <p:cNvSpPr txBox="1"/>
          <p:nvPr/>
        </p:nvSpPr>
        <p:spPr>
          <a:xfrm>
            <a:off x="431712" y="314253"/>
            <a:ext cx="62285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b="1" dirty="0" smtClean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épzési anomáliák kezelése</a:t>
            </a:r>
            <a:endParaRPr lang="hu-HU" sz="2800" b="1" dirty="0">
              <a:solidFill>
                <a:schemeClr val="accent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Diagram 2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78208" y="3804173"/>
            <a:ext cx="4860032" cy="2664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zövegdoboz 2"/>
          <p:cNvSpPr txBox="1"/>
          <p:nvPr/>
        </p:nvSpPr>
        <p:spPr>
          <a:xfrm>
            <a:off x="107504" y="1135738"/>
            <a:ext cx="2370704" cy="218521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r>
              <a:rPr lang="hu-HU" sz="2000" dirty="0" smtClean="0"/>
              <a:t>Keretszámmal, támogatási kategóriák meghatározásával - szabályozás</a:t>
            </a:r>
          </a:p>
          <a:p>
            <a:endParaRPr lang="hu-HU" dirty="0" smtClean="0"/>
          </a:p>
          <a:p>
            <a:pPr marL="285750" indent="-285750">
              <a:buFontTx/>
              <a:buChar char="-"/>
            </a:pPr>
            <a:endParaRPr lang="hu-HU" dirty="0"/>
          </a:p>
        </p:txBody>
      </p:sp>
      <p:sp>
        <p:nvSpPr>
          <p:cNvPr id="4" name="Szövegdoboz 3"/>
          <p:cNvSpPr txBox="1"/>
          <p:nvPr/>
        </p:nvSpPr>
        <p:spPr>
          <a:xfrm>
            <a:off x="7524328" y="1556792"/>
            <a:ext cx="1224136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hu-HU" dirty="0" smtClean="0"/>
              <a:t>9-12 évf.</a:t>
            </a:r>
            <a:endParaRPr lang="hu-HU" dirty="0"/>
          </a:p>
        </p:txBody>
      </p:sp>
      <p:sp>
        <p:nvSpPr>
          <p:cNvPr id="7" name="Szövegdoboz 6"/>
          <p:cNvSpPr txBox="1"/>
          <p:nvPr/>
        </p:nvSpPr>
        <p:spPr>
          <a:xfrm>
            <a:off x="7524328" y="4581128"/>
            <a:ext cx="1224136" cy="64633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hu-HU" dirty="0" smtClean="0"/>
              <a:t>Érettségi után</a:t>
            </a:r>
            <a:endParaRPr lang="hu-HU" dirty="0"/>
          </a:p>
        </p:txBody>
      </p:sp>
      <p:sp>
        <p:nvSpPr>
          <p:cNvPr id="2" name="Szövegdoboz 1"/>
          <p:cNvSpPr txBox="1"/>
          <p:nvPr/>
        </p:nvSpPr>
        <p:spPr>
          <a:xfrm>
            <a:off x="107504" y="3454011"/>
            <a:ext cx="7230736" cy="646331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hu-HU" dirty="0" smtClean="0"/>
              <a:t>Korábban a szakmacsoportos és OKJ képzés elvált egymástól. Az átalakítás ezt megoldotta!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174467967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ekerekített téglalap 1"/>
          <p:cNvSpPr>
            <a:spLocks noChangeArrowheads="1"/>
          </p:cNvSpPr>
          <p:nvPr/>
        </p:nvSpPr>
        <p:spPr bwMode="auto">
          <a:xfrm>
            <a:off x="1577772" y="3219027"/>
            <a:ext cx="2083594" cy="3079750"/>
          </a:xfrm>
          <a:prstGeom prst="roundRect">
            <a:avLst>
              <a:gd name="adj" fmla="val 16667"/>
            </a:avLst>
          </a:prstGeom>
          <a:solidFill>
            <a:srgbClr val="8064A2"/>
          </a:solidFill>
          <a:ln w="25400">
            <a:solidFill>
              <a:srgbClr val="3F3151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özismereti</a:t>
            </a:r>
            <a:r>
              <a:rPr kumimoji="0" lang="hu-HU" altLang="hu-HU" sz="1800" b="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hu-HU" altLang="hu-H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rtalom oktatása</a:t>
            </a:r>
            <a:endParaRPr kumimoji="0" lang="hu-HU" altLang="hu-HU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Lekerekített téglalap 4"/>
          <p:cNvSpPr/>
          <p:nvPr/>
        </p:nvSpPr>
        <p:spPr>
          <a:xfrm>
            <a:off x="5841399" y="3281682"/>
            <a:ext cx="2243282" cy="3072765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>
              <a:spcAft>
                <a:spcPts val="0"/>
              </a:spcAft>
            </a:pPr>
            <a:r>
              <a:rPr lang="hu-HU" sz="120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 </a:t>
            </a:r>
          </a:p>
        </p:txBody>
      </p:sp>
      <p:sp>
        <p:nvSpPr>
          <p:cNvPr id="6" name="Lekerekített téglalap 3"/>
          <p:cNvSpPr>
            <a:spLocks noChangeArrowheads="1"/>
          </p:cNvSpPr>
          <p:nvPr/>
        </p:nvSpPr>
        <p:spPr bwMode="auto">
          <a:xfrm>
            <a:off x="3661366" y="3250777"/>
            <a:ext cx="2057399" cy="3016250"/>
          </a:xfrm>
          <a:prstGeom prst="roundRect">
            <a:avLst>
              <a:gd name="adj" fmla="val 16667"/>
            </a:avLst>
          </a:prstGeom>
          <a:solidFill>
            <a:srgbClr val="8064A2"/>
          </a:solidFill>
          <a:ln w="25400">
            <a:solidFill>
              <a:srgbClr val="3F3151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chnikusi </a:t>
            </a:r>
            <a:r>
              <a:rPr kumimoji="0" lang="hu-HU" altLang="hu-H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imenet („fő-képesítés”) tartalmának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hu-HU" altLang="hu-HU" sz="14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+ </a:t>
            </a:r>
            <a:r>
              <a:rPr kumimoji="0" lang="hu-HU" altLang="hu-HU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ágazati ismeretek </a:t>
            </a:r>
            <a:r>
              <a:rPr kumimoji="0" lang="hu-HU" altLang="hu-H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ktatása</a:t>
            </a:r>
            <a:endParaRPr kumimoji="0" lang="hu-HU" alt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Lekerekített téglalap 7"/>
          <p:cNvSpPr>
            <a:spLocks noChangeArrowheads="1"/>
          </p:cNvSpPr>
          <p:nvPr/>
        </p:nvSpPr>
        <p:spPr bwMode="auto">
          <a:xfrm>
            <a:off x="2585679" y="1682328"/>
            <a:ext cx="3671888" cy="933450"/>
          </a:xfrm>
          <a:prstGeom prst="roundRect">
            <a:avLst>
              <a:gd name="adj" fmla="val 16667"/>
            </a:avLst>
          </a:prstGeom>
          <a:solidFill>
            <a:srgbClr val="8064A2"/>
          </a:solidFill>
          <a:ln w="25400">
            <a:solidFill>
              <a:srgbClr val="3F3151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8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chnikusi képesítés megszerzése</a:t>
            </a:r>
            <a:endParaRPr kumimoji="0" lang="hu-HU" altLang="hu-HU" sz="1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Ellipszis 4"/>
          <p:cNvSpPr>
            <a:spLocks noChangeArrowheads="1"/>
          </p:cNvSpPr>
          <p:nvPr/>
        </p:nvSpPr>
        <p:spPr bwMode="auto">
          <a:xfrm>
            <a:off x="5841399" y="4563746"/>
            <a:ext cx="1689497" cy="1790700"/>
          </a:xfrm>
          <a:prstGeom prst="ellipse">
            <a:avLst/>
          </a:prstGeom>
          <a:solidFill>
            <a:srgbClr val="F79646"/>
          </a:solidFill>
          <a:ln w="25400">
            <a:solidFill>
              <a:srgbClr val="974706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llék-szakképesítés ágazati közös </a:t>
            </a:r>
            <a:r>
              <a:rPr kumimoji="0" lang="hu-HU" altLang="hu-H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rta-lomtól</a:t>
            </a:r>
            <a:r>
              <a:rPr kumimoji="0" lang="hu-HU" altLang="hu-H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illetve a technikusi tartalomtól </a:t>
            </a:r>
            <a:r>
              <a:rPr kumimoji="0" lang="hu-HU" altLang="hu-HU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ltérő</a:t>
            </a:r>
            <a:r>
              <a:rPr kumimoji="0" lang="hu-HU" altLang="hu-H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tartalmának oktatása </a:t>
            </a:r>
            <a:endParaRPr kumimoji="0" lang="hu-HU" alt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Szövegdoboz 2"/>
          <p:cNvSpPr txBox="1">
            <a:spLocks noChangeArrowheads="1"/>
          </p:cNvSpPr>
          <p:nvPr/>
        </p:nvSpPr>
        <p:spPr bwMode="auto">
          <a:xfrm>
            <a:off x="712903" y="5755853"/>
            <a:ext cx="700088" cy="542925"/>
          </a:xfrm>
          <a:prstGeom prst="rect">
            <a:avLst/>
          </a:prstGeom>
          <a:solidFill>
            <a:srgbClr val="FFFFFF"/>
          </a:solidFill>
          <a:ln w="25400">
            <a:solidFill>
              <a:srgbClr val="4BACC6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9. </a:t>
            </a:r>
            <a:endParaRPr kumimoji="0" lang="hu-HU" altLang="hu-H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Times New Roman" panose="02020603050405020304" pitchFamily="18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évfolyam</a:t>
            </a:r>
            <a:endParaRPr kumimoji="0" lang="hu-HU" alt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Text Box 1"/>
          <p:cNvSpPr txBox="1">
            <a:spLocks noChangeArrowheads="1"/>
          </p:cNvSpPr>
          <p:nvPr/>
        </p:nvSpPr>
        <p:spPr bwMode="auto">
          <a:xfrm>
            <a:off x="696709" y="5085505"/>
            <a:ext cx="700088" cy="504825"/>
          </a:xfrm>
          <a:prstGeom prst="rect">
            <a:avLst/>
          </a:prstGeom>
          <a:solidFill>
            <a:srgbClr val="FFFFFF"/>
          </a:solidFill>
          <a:ln w="25400">
            <a:solidFill>
              <a:srgbClr val="4BACC6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. évfolyam</a:t>
            </a:r>
            <a:endParaRPr kumimoji="0" lang="hu-HU" alt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Lekerekített téglalap 8"/>
          <p:cNvSpPr>
            <a:spLocks noChangeArrowheads="1"/>
          </p:cNvSpPr>
          <p:nvPr/>
        </p:nvSpPr>
        <p:spPr bwMode="auto">
          <a:xfrm>
            <a:off x="1546815" y="2697158"/>
            <a:ext cx="4114800" cy="419100"/>
          </a:xfrm>
          <a:prstGeom prst="roundRect">
            <a:avLst>
              <a:gd name="adj" fmla="val 16667"/>
            </a:avLst>
          </a:prstGeom>
          <a:solidFill>
            <a:srgbClr val="C0504D"/>
          </a:solidFill>
          <a:ln w="25400">
            <a:solidFill>
              <a:srgbClr val="622423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8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Érettségi</a:t>
            </a:r>
            <a:r>
              <a:rPr kumimoji="0" lang="hu-HU" altLang="hu-HU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 (ÁSZÉV)</a:t>
            </a:r>
            <a:endParaRPr kumimoji="0" lang="hu-HU" altLang="hu-HU" sz="1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Text Box 3"/>
          <p:cNvSpPr txBox="1">
            <a:spLocks noChangeArrowheads="1"/>
          </p:cNvSpPr>
          <p:nvPr/>
        </p:nvSpPr>
        <p:spPr bwMode="auto">
          <a:xfrm>
            <a:off x="696708" y="3925042"/>
            <a:ext cx="700088" cy="571500"/>
          </a:xfrm>
          <a:prstGeom prst="rect">
            <a:avLst/>
          </a:prstGeom>
          <a:solidFill>
            <a:srgbClr val="FFFFFF"/>
          </a:solidFill>
          <a:ln w="25400">
            <a:solidFill>
              <a:srgbClr val="4BACC6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1. évfolyam</a:t>
            </a:r>
            <a:endParaRPr kumimoji="0" lang="hu-HU" altLang="hu-H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AutoShape 12"/>
          <p:cNvSpPr>
            <a:spLocks noChangeArrowheads="1"/>
          </p:cNvSpPr>
          <p:nvPr/>
        </p:nvSpPr>
        <p:spPr bwMode="auto">
          <a:xfrm>
            <a:off x="5841398" y="2706683"/>
            <a:ext cx="2150269" cy="409575"/>
          </a:xfrm>
          <a:prstGeom prst="roundRect">
            <a:avLst>
              <a:gd name="adj" fmla="val 16667"/>
            </a:avLst>
          </a:prstGeom>
          <a:solidFill>
            <a:srgbClr val="F79646"/>
          </a:solidFill>
          <a:ln w="25400">
            <a:solidFill>
              <a:srgbClr val="974706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8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KJ vizsga</a:t>
            </a:r>
            <a:endParaRPr kumimoji="0" lang="hu-HU" altLang="hu-HU" sz="1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Text Box 11"/>
          <p:cNvSpPr txBox="1">
            <a:spLocks noChangeArrowheads="1"/>
          </p:cNvSpPr>
          <p:nvPr/>
        </p:nvSpPr>
        <p:spPr bwMode="auto">
          <a:xfrm>
            <a:off x="696709" y="3238077"/>
            <a:ext cx="700088" cy="571500"/>
          </a:xfrm>
          <a:prstGeom prst="rect">
            <a:avLst/>
          </a:prstGeom>
          <a:solidFill>
            <a:srgbClr val="FFFFFF"/>
          </a:solidFill>
          <a:ln w="25400">
            <a:solidFill>
              <a:srgbClr val="4BACC6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2. évfolyam</a:t>
            </a:r>
            <a:endParaRPr kumimoji="0" lang="hu-HU" altLang="hu-H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Text Box 7"/>
          <p:cNvSpPr txBox="1">
            <a:spLocks noChangeArrowheads="1"/>
          </p:cNvSpPr>
          <p:nvPr/>
        </p:nvSpPr>
        <p:spPr bwMode="auto">
          <a:xfrm>
            <a:off x="647611" y="1772816"/>
            <a:ext cx="700088" cy="752475"/>
          </a:xfrm>
          <a:prstGeom prst="rect">
            <a:avLst/>
          </a:prstGeom>
          <a:solidFill>
            <a:srgbClr val="FFFFFF"/>
          </a:solidFill>
          <a:ln w="25400">
            <a:solidFill>
              <a:srgbClr val="4BACC6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3. évfolyam</a:t>
            </a:r>
            <a:endParaRPr kumimoji="0" lang="hu-HU" altLang="hu-H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Rectangle 16"/>
          <p:cNvSpPr>
            <a:spLocks noChangeArrowheads="1"/>
          </p:cNvSpPr>
          <p:nvPr/>
        </p:nvSpPr>
        <p:spPr bwMode="auto">
          <a:xfrm>
            <a:off x="1278924" y="439350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u-HU"/>
          </a:p>
        </p:txBody>
      </p:sp>
      <p:sp>
        <p:nvSpPr>
          <p:cNvPr id="20" name="Dia számának helye 19"/>
          <p:cNvSpPr>
            <a:spLocks noGrp="1"/>
          </p:cNvSpPr>
          <p:nvPr>
            <p:ph type="sldNum" sz="quarter" idx="12"/>
          </p:nvPr>
        </p:nvSpPr>
        <p:spPr>
          <a:xfrm>
            <a:off x="8363092" y="6267028"/>
            <a:ext cx="512504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21" name="Ellipszis 4"/>
          <p:cNvSpPr>
            <a:spLocks noChangeArrowheads="1"/>
          </p:cNvSpPr>
          <p:nvPr/>
        </p:nvSpPr>
        <p:spPr bwMode="auto">
          <a:xfrm>
            <a:off x="6395184" y="3281681"/>
            <a:ext cx="1689497" cy="1790700"/>
          </a:xfrm>
          <a:prstGeom prst="ellipse">
            <a:avLst/>
          </a:prstGeom>
          <a:solidFill>
            <a:srgbClr val="F79646"/>
          </a:solidFill>
          <a:ln w="25400">
            <a:solidFill>
              <a:srgbClr val="974706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6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llék-szakképesítés </a:t>
            </a:r>
            <a:r>
              <a:rPr kumimoji="0" lang="hu-HU" altLang="hu-H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ágazati közös </a:t>
            </a:r>
            <a:r>
              <a:rPr kumimoji="0" lang="hu-HU" altLang="hu-H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rta-lomtól</a:t>
            </a:r>
            <a:r>
              <a:rPr kumimoji="0" lang="hu-HU" altLang="hu-H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illetve a technikusi tartalommal</a:t>
            </a:r>
            <a:r>
              <a:rPr kumimoji="0" lang="hu-HU" altLang="hu-HU" sz="1200" b="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hu-HU" altLang="hu-HU" sz="16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zonos </a:t>
            </a:r>
            <a:r>
              <a:rPr kumimoji="0" lang="hu-HU" altLang="hu-H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rtalmának oktatása </a:t>
            </a:r>
            <a:endParaRPr kumimoji="0" lang="hu-HU" alt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Jobbra nyíl 2"/>
          <p:cNvSpPr/>
          <p:nvPr/>
        </p:nvSpPr>
        <p:spPr>
          <a:xfrm>
            <a:off x="471643" y="2695654"/>
            <a:ext cx="899930" cy="41433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2" name="Jobbra nyíl 21"/>
          <p:cNvSpPr/>
          <p:nvPr/>
        </p:nvSpPr>
        <p:spPr>
          <a:xfrm rot="10800000">
            <a:off x="8211553" y="2658979"/>
            <a:ext cx="932447" cy="44516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3" name="Ellipszis 22"/>
          <p:cNvSpPr/>
          <p:nvPr/>
        </p:nvSpPr>
        <p:spPr>
          <a:xfrm>
            <a:off x="3661365" y="5287273"/>
            <a:ext cx="911393" cy="960861"/>
          </a:xfrm>
          <a:prstGeom prst="ellipse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4" name="Ellipszis 23"/>
          <p:cNvSpPr/>
          <p:nvPr/>
        </p:nvSpPr>
        <p:spPr>
          <a:xfrm>
            <a:off x="4750222" y="5306580"/>
            <a:ext cx="911393" cy="960861"/>
          </a:xfrm>
          <a:prstGeom prst="ellipse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5" name="Szövegdoboz 24"/>
          <p:cNvSpPr txBox="1"/>
          <p:nvPr/>
        </p:nvSpPr>
        <p:spPr>
          <a:xfrm>
            <a:off x="3725659" y="5590330"/>
            <a:ext cx="8001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b="1" dirty="0" smtClean="0"/>
              <a:t>Van</a:t>
            </a:r>
          </a:p>
          <a:p>
            <a:pPr algn="ctr"/>
            <a:r>
              <a:rPr lang="hu-HU" sz="1200" dirty="0" smtClean="0"/>
              <a:t> közös tart.</a:t>
            </a:r>
            <a:endParaRPr lang="hu-HU" sz="1400" dirty="0"/>
          </a:p>
        </p:txBody>
      </p:sp>
      <p:sp>
        <p:nvSpPr>
          <p:cNvPr id="26" name="Szövegdoboz 25"/>
          <p:cNvSpPr txBox="1"/>
          <p:nvPr/>
        </p:nvSpPr>
        <p:spPr>
          <a:xfrm>
            <a:off x="4805868" y="5597155"/>
            <a:ext cx="8001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b="1" dirty="0" smtClean="0"/>
              <a:t>Nincs</a:t>
            </a:r>
          </a:p>
          <a:p>
            <a:pPr algn="ctr"/>
            <a:r>
              <a:rPr lang="hu-HU" sz="1200" dirty="0" smtClean="0"/>
              <a:t> közös tart.</a:t>
            </a:r>
            <a:endParaRPr lang="hu-HU" sz="1400" dirty="0"/>
          </a:p>
        </p:txBody>
      </p:sp>
      <p:sp>
        <p:nvSpPr>
          <p:cNvPr id="27" name="Lekerekített téglalap 7"/>
          <p:cNvSpPr>
            <a:spLocks noChangeArrowheads="1"/>
          </p:cNvSpPr>
          <p:nvPr/>
        </p:nvSpPr>
        <p:spPr bwMode="auto">
          <a:xfrm>
            <a:off x="1062947" y="1062009"/>
            <a:ext cx="7148606" cy="372066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5400">
            <a:solidFill>
              <a:srgbClr val="3F3151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2800" b="1" i="0" u="none" strike="noStrike" cap="none" normalizeH="0" baseline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latin typeface="Calibri" panose="020F0502020204030204" pitchFamily="34" charset="0"/>
              </a:rPr>
              <a:t>A szakgimnáziumi</a:t>
            </a:r>
            <a:r>
              <a:rPr kumimoji="0" lang="hu-HU" altLang="hu-HU" sz="2800" b="1" i="0" u="none" strike="noStrike" cap="none" normalizeH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latin typeface="Calibri" panose="020F0502020204030204" pitchFamily="34" charset="0"/>
              </a:rPr>
              <a:t> tananyagtartalom felépítése</a:t>
            </a:r>
            <a:endParaRPr kumimoji="0" lang="hu-HU" altLang="hu-HU" sz="2800" b="1" i="0" u="none" strike="noStrike" cap="none" normalizeH="0" baseline="0" dirty="0" smtClean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942372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2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hu-HU" sz="2000" dirty="0" smtClean="0"/>
          </a:p>
          <a:p>
            <a:endParaRPr lang="hu-HU" sz="2000" dirty="0"/>
          </a:p>
          <a:p>
            <a:pPr marL="0" indent="0">
              <a:buNone/>
            </a:pPr>
            <a:r>
              <a:rPr lang="hu-HU" sz="2000" b="1" dirty="0"/>
              <a:t>CÉL:</a:t>
            </a:r>
            <a:endParaRPr lang="hu-HU" sz="2000" dirty="0" smtClean="0"/>
          </a:p>
          <a:p>
            <a:r>
              <a:rPr lang="hu-HU" sz="2000" dirty="0" smtClean="0"/>
              <a:t>Rugalmasabb tanulási utak megjelenése a szakgimnáziumban</a:t>
            </a:r>
          </a:p>
          <a:p>
            <a:pPr marL="0" indent="0">
              <a:buNone/>
            </a:pPr>
            <a:endParaRPr lang="hu-HU" sz="2000" dirty="0" smtClean="0"/>
          </a:p>
          <a:p>
            <a:r>
              <a:rPr lang="hu-HU" sz="2000" dirty="0" smtClean="0"/>
              <a:t>Igény </a:t>
            </a:r>
            <a:r>
              <a:rPr lang="hu-HU" sz="2000" dirty="0"/>
              <a:t>a letisztultabb kerettantervek </a:t>
            </a:r>
            <a:r>
              <a:rPr lang="hu-HU" sz="2000" dirty="0" smtClean="0"/>
              <a:t>iránt         kerettanterv felülvizsgálata</a:t>
            </a:r>
          </a:p>
          <a:p>
            <a:pPr marL="0" indent="0">
              <a:buNone/>
            </a:pPr>
            <a:endParaRPr lang="hu-HU" sz="2000" dirty="0"/>
          </a:p>
          <a:p>
            <a:r>
              <a:rPr lang="hu-HU" sz="2000" dirty="0" smtClean="0"/>
              <a:t>Átláthatóbb ágazati komplex érettségi</a:t>
            </a:r>
          </a:p>
          <a:p>
            <a:endParaRPr lang="hu-HU" sz="2000" dirty="0"/>
          </a:p>
          <a:p>
            <a:r>
              <a:rPr lang="hu-HU" sz="2400" b="1" dirty="0" smtClean="0">
                <a:solidFill>
                  <a:srgbClr val="FF0000"/>
                </a:solidFill>
              </a:rPr>
              <a:t>Szakgimnáziumi képzés = minőségi technikus képzés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2</a:t>
            </a:fld>
            <a:endParaRPr lang="en-US" dirty="0"/>
          </a:p>
        </p:txBody>
      </p:sp>
      <p:cxnSp>
        <p:nvCxnSpPr>
          <p:cNvPr id="6" name="Egyenes összekötő nyíllal 5"/>
          <p:cNvCxnSpPr/>
          <p:nvPr/>
        </p:nvCxnSpPr>
        <p:spPr>
          <a:xfrm>
            <a:off x="5436096" y="3356992"/>
            <a:ext cx="369971" cy="0"/>
          </a:xfrm>
          <a:prstGeom prst="straightConnector1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2672278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ekerekített téglalap 1"/>
          <p:cNvSpPr>
            <a:spLocks noChangeArrowheads="1"/>
          </p:cNvSpPr>
          <p:nvPr/>
        </p:nvSpPr>
        <p:spPr bwMode="auto">
          <a:xfrm>
            <a:off x="1577772" y="3380953"/>
            <a:ext cx="2083594" cy="2917824"/>
          </a:xfrm>
          <a:prstGeom prst="roundRect">
            <a:avLst>
              <a:gd name="adj" fmla="val 16667"/>
            </a:avLst>
          </a:prstGeom>
          <a:solidFill>
            <a:srgbClr val="8064A2"/>
          </a:solidFill>
          <a:ln w="25400">
            <a:solidFill>
              <a:srgbClr val="3F3151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özismereti</a:t>
            </a:r>
            <a:r>
              <a:rPr kumimoji="0" lang="hu-HU" altLang="hu-HU" sz="1800" b="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hu-HU" altLang="hu-H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rtalom oktatása</a:t>
            </a:r>
            <a:endParaRPr kumimoji="0" lang="hu-HU" altLang="hu-HU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Lekerekített téglalap 4"/>
          <p:cNvSpPr/>
          <p:nvPr/>
        </p:nvSpPr>
        <p:spPr>
          <a:xfrm>
            <a:off x="6623384" y="3633538"/>
            <a:ext cx="1461296" cy="272090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>
              <a:spcAft>
                <a:spcPts val="0"/>
              </a:spcAft>
            </a:pPr>
            <a:r>
              <a:rPr lang="hu-HU" sz="120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 </a:t>
            </a:r>
          </a:p>
        </p:txBody>
      </p:sp>
      <p:sp>
        <p:nvSpPr>
          <p:cNvPr id="6" name="Lekerekített téglalap 3"/>
          <p:cNvSpPr>
            <a:spLocks noChangeArrowheads="1"/>
          </p:cNvSpPr>
          <p:nvPr/>
        </p:nvSpPr>
        <p:spPr bwMode="auto">
          <a:xfrm>
            <a:off x="3661366" y="3380953"/>
            <a:ext cx="2350794" cy="2886074"/>
          </a:xfrm>
          <a:prstGeom prst="roundRect">
            <a:avLst>
              <a:gd name="adj" fmla="val 16667"/>
            </a:avLst>
          </a:prstGeom>
          <a:solidFill>
            <a:srgbClr val="8064A2"/>
          </a:solidFill>
          <a:ln w="25400">
            <a:solidFill>
              <a:srgbClr val="3F3151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chnikusi </a:t>
            </a:r>
            <a:r>
              <a:rPr kumimoji="0" lang="hu-HU" altLang="hu-H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imenet („fő-képesítés”) tartalmának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hu-HU" altLang="hu-HU" sz="14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+ </a:t>
            </a:r>
            <a:r>
              <a:rPr kumimoji="0" lang="hu-HU" altLang="hu-HU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ágazati ismeretek </a:t>
            </a:r>
            <a:r>
              <a:rPr kumimoji="0" lang="hu-HU" altLang="hu-H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ktatása</a:t>
            </a:r>
            <a:endParaRPr kumimoji="0" lang="hu-HU" alt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Lekerekített téglalap 7"/>
          <p:cNvSpPr>
            <a:spLocks noChangeArrowheads="1"/>
          </p:cNvSpPr>
          <p:nvPr/>
        </p:nvSpPr>
        <p:spPr bwMode="auto">
          <a:xfrm>
            <a:off x="1940844" y="1772816"/>
            <a:ext cx="3671888" cy="933450"/>
          </a:xfrm>
          <a:prstGeom prst="roundRect">
            <a:avLst>
              <a:gd name="adj" fmla="val 16667"/>
            </a:avLst>
          </a:prstGeom>
          <a:solidFill>
            <a:srgbClr val="8064A2"/>
          </a:solidFill>
          <a:ln w="25400">
            <a:solidFill>
              <a:srgbClr val="3F3151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8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chnikusi képesítés megszerzése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hu-HU" altLang="hu-HU" b="1" dirty="0" smtClean="0">
                <a:solidFill>
                  <a:srgbClr val="FF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DUÁLIS KÉPZÉS</a:t>
            </a:r>
            <a:endParaRPr kumimoji="0" lang="hu-HU" altLang="hu-HU" sz="18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Szövegdoboz 2"/>
          <p:cNvSpPr txBox="1">
            <a:spLocks noChangeArrowheads="1"/>
          </p:cNvSpPr>
          <p:nvPr/>
        </p:nvSpPr>
        <p:spPr bwMode="auto">
          <a:xfrm>
            <a:off x="712903" y="5731283"/>
            <a:ext cx="700088" cy="623164"/>
          </a:xfrm>
          <a:prstGeom prst="rect">
            <a:avLst/>
          </a:prstGeom>
          <a:solidFill>
            <a:srgbClr val="FFFFFF"/>
          </a:solidFill>
          <a:ln w="25400">
            <a:solidFill>
              <a:srgbClr val="4BACC6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9. </a:t>
            </a:r>
            <a:endParaRPr kumimoji="0" lang="hu-HU" altLang="hu-H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Times New Roman" panose="02020603050405020304" pitchFamily="18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Évfo-lyam</a:t>
            </a:r>
            <a:endParaRPr kumimoji="0" lang="hu-HU" alt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Text Box 1"/>
          <p:cNvSpPr txBox="1">
            <a:spLocks noChangeArrowheads="1"/>
          </p:cNvSpPr>
          <p:nvPr/>
        </p:nvSpPr>
        <p:spPr bwMode="auto">
          <a:xfrm>
            <a:off x="694269" y="5013795"/>
            <a:ext cx="700088" cy="576536"/>
          </a:xfrm>
          <a:prstGeom prst="rect">
            <a:avLst/>
          </a:prstGeom>
          <a:solidFill>
            <a:srgbClr val="FFFFFF"/>
          </a:solidFill>
          <a:ln w="25400">
            <a:solidFill>
              <a:srgbClr val="4BACC6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. </a:t>
            </a:r>
            <a:r>
              <a:rPr kumimoji="0" lang="hu-HU" altLang="hu-HU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évfo-lyam</a:t>
            </a:r>
            <a:endParaRPr kumimoji="0" lang="hu-HU" alt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Lekerekített téglalap 8"/>
          <p:cNvSpPr>
            <a:spLocks noChangeArrowheads="1"/>
          </p:cNvSpPr>
          <p:nvPr/>
        </p:nvSpPr>
        <p:spPr bwMode="auto">
          <a:xfrm>
            <a:off x="1880617" y="2852936"/>
            <a:ext cx="4114800" cy="419100"/>
          </a:xfrm>
          <a:prstGeom prst="roundRect">
            <a:avLst>
              <a:gd name="adj" fmla="val 16667"/>
            </a:avLst>
          </a:prstGeom>
          <a:solidFill>
            <a:srgbClr val="C0504D"/>
          </a:solidFill>
          <a:ln w="25400">
            <a:solidFill>
              <a:srgbClr val="622423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8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Érettségi</a:t>
            </a:r>
            <a:r>
              <a:rPr kumimoji="0" lang="hu-HU" altLang="hu-HU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 (ÁSZÉV)</a:t>
            </a:r>
            <a:endParaRPr kumimoji="0" lang="hu-HU" altLang="hu-HU" sz="1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Text Box 3"/>
          <p:cNvSpPr txBox="1">
            <a:spLocks noChangeArrowheads="1"/>
          </p:cNvSpPr>
          <p:nvPr/>
        </p:nvSpPr>
        <p:spPr bwMode="auto">
          <a:xfrm>
            <a:off x="708036" y="4192484"/>
            <a:ext cx="700088" cy="571500"/>
          </a:xfrm>
          <a:prstGeom prst="rect">
            <a:avLst/>
          </a:prstGeom>
          <a:solidFill>
            <a:srgbClr val="FFFFFF"/>
          </a:solidFill>
          <a:ln w="25400">
            <a:solidFill>
              <a:srgbClr val="4BACC6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1. </a:t>
            </a:r>
            <a:r>
              <a:rPr kumimoji="0" lang="hu-HU" altLang="hu-HU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évfo-lyam</a:t>
            </a:r>
            <a:endParaRPr kumimoji="0" lang="hu-HU" alt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AutoShape 12"/>
          <p:cNvSpPr>
            <a:spLocks noChangeArrowheads="1"/>
          </p:cNvSpPr>
          <p:nvPr/>
        </p:nvSpPr>
        <p:spPr bwMode="auto">
          <a:xfrm>
            <a:off x="6724032" y="2971378"/>
            <a:ext cx="1259999" cy="409575"/>
          </a:xfrm>
          <a:prstGeom prst="roundRect">
            <a:avLst>
              <a:gd name="adj" fmla="val 16667"/>
            </a:avLst>
          </a:prstGeom>
          <a:solidFill>
            <a:srgbClr val="F79646"/>
          </a:solidFill>
          <a:ln w="25400">
            <a:solidFill>
              <a:srgbClr val="974706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8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KJ vizsga</a:t>
            </a:r>
            <a:endParaRPr kumimoji="0" lang="hu-HU" altLang="hu-HU" sz="1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Text Box 11"/>
          <p:cNvSpPr txBox="1">
            <a:spLocks noChangeArrowheads="1"/>
          </p:cNvSpPr>
          <p:nvPr/>
        </p:nvSpPr>
        <p:spPr bwMode="auto">
          <a:xfrm>
            <a:off x="721753" y="3380953"/>
            <a:ext cx="700088" cy="571500"/>
          </a:xfrm>
          <a:prstGeom prst="rect">
            <a:avLst/>
          </a:prstGeom>
          <a:solidFill>
            <a:srgbClr val="FFFFFF"/>
          </a:solidFill>
          <a:ln w="25400">
            <a:solidFill>
              <a:srgbClr val="4BACC6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2. </a:t>
            </a:r>
            <a:r>
              <a:rPr kumimoji="0" lang="hu-HU" altLang="hu-HU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évfo-lyam</a:t>
            </a:r>
            <a:endParaRPr kumimoji="0" lang="hu-HU" alt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Text Box 7"/>
          <p:cNvSpPr txBox="1">
            <a:spLocks noChangeArrowheads="1"/>
          </p:cNvSpPr>
          <p:nvPr/>
        </p:nvSpPr>
        <p:spPr bwMode="auto">
          <a:xfrm>
            <a:off x="659529" y="1863303"/>
            <a:ext cx="700088" cy="752475"/>
          </a:xfrm>
          <a:prstGeom prst="rect">
            <a:avLst/>
          </a:prstGeom>
          <a:solidFill>
            <a:srgbClr val="FFFFFF"/>
          </a:solidFill>
          <a:ln w="25400">
            <a:solidFill>
              <a:srgbClr val="4BACC6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3. </a:t>
            </a:r>
            <a:r>
              <a:rPr kumimoji="0" lang="hu-HU" altLang="hu-HU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évfo-lyam</a:t>
            </a:r>
            <a:endParaRPr kumimoji="0" lang="hu-HU" alt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" name="Rectangle 16"/>
          <p:cNvSpPr>
            <a:spLocks noChangeArrowheads="1"/>
          </p:cNvSpPr>
          <p:nvPr/>
        </p:nvSpPr>
        <p:spPr bwMode="auto">
          <a:xfrm>
            <a:off x="1278924" y="439350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hu-HU"/>
          </a:p>
        </p:txBody>
      </p:sp>
      <p:sp>
        <p:nvSpPr>
          <p:cNvPr id="20" name="Dia számának helye 19"/>
          <p:cNvSpPr>
            <a:spLocks noGrp="1"/>
          </p:cNvSpPr>
          <p:nvPr>
            <p:ph type="sldNum" sz="quarter" idx="12"/>
          </p:nvPr>
        </p:nvSpPr>
        <p:spPr>
          <a:xfrm>
            <a:off x="8363092" y="6267028"/>
            <a:ext cx="512504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27" name="Lekerekített téglalap 26"/>
          <p:cNvSpPr/>
          <p:nvPr/>
        </p:nvSpPr>
        <p:spPr>
          <a:xfrm>
            <a:off x="6623384" y="3380953"/>
            <a:ext cx="1461296" cy="1704552"/>
          </a:xfrm>
          <a:prstGeom prst="roundRect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t">
            <a:noAutofit/>
          </a:bodyPr>
          <a:lstStyle/>
          <a:p>
            <a:pPr algn="ctr">
              <a:spcAft>
                <a:spcPts val="0"/>
              </a:spcAft>
            </a:pPr>
            <a:r>
              <a:rPr lang="hu-HU" sz="120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 </a:t>
            </a:r>
          </a:p>
        </p:txBody>
      </p:sp>
      <p:cxnSp>
        <p:nvCxnSpPr>
          <p:cNvPr id="28" name="Egyenes összekötő 27"/>
          <p:cNvCxnSpPr/>
          <p:nvPr/>
        </p:nvCxnSpPr>
        <p:spPr>
          <a:xfrm>
            <a:off x="1412990" y="5085504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Box 1"/>
          <p:cNvSpPr txBox="1">
            <a:spLocks noChangeArrowheads="1"/>
          </p:cNvSpPr>
          <p:nvPr/>
        </p:nvSpPr>
        <p:spPr bwMode="auto">
          <a:xfrm>
            <a:off x="8244085" y="4993992"/>
            <a:ext cx="700088" cy="596337"/>
          </a:xfrm>
          <a:prstGeom prst="rect">
            <a:avLst/>
          </a:prstGeom>
          <a:solidFill>
            <a:srgbClr val="FFFFFF"/>
          </a:solidFill>
          <a:ln w="25400">
            <a:solidFill>
              <a:srgbClr val="4BACC6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. </a:t>
            </a:r>
            <a:r>
              <a:rPr kumimoji="0" lang="hu-HU" altLang="hu-HU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évfo-lyam</a:t>
            </a:r>
            <a:endParaRPr kumimoji="0" lang="hu-HU" alt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Szövegdoboz 2"/>
          <p:cNvSpPr txBox="1">
            <a:spLocks noChangeArrowheads="1"/>
          </p:cNvSpPr>
          <p:nvPr/>
        </p:nvSpPr>
        <p:spPr bwMode="auto">
          <a:xfrm>
            <a:off x="8244085" y="5731283"/>
            <a:ext cx="700088" cy="623164"/>
          </a:xfrm>
          <a:prstGeom prst="rect">
            <a:avLst/>
          </a:prstGeom>
          <a:solidFill>
            <a:srgbClr val="FFFFFF"/>
          </a:solidFill>
          <a:ln w="25400">
            <a:solidFill>
              <a:srgbClr val="4BACC6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9. </a:t>
            </a:r>
            <a:endParaRPr kumimoji="0" lang="hu-HU" altLang="hu-H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Times New Roman" panose="02020603050405020304" pitchFamily="18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Évfo-lyam</a:t>
            </a:r>
            <a:endParaRPr kumimoji="0" lang="hu-HU" alt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" name="Szövegdoboz 30"/>
          <p:cNvSpPr txBox="1"/>
          <p:nvPr/>
        </p:nvSpPr>
        <p:spPr>
          <a:xfrm>
            <a:off x="6812882" y="4367463"/>
            <a:ext cx="11711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b="1" dirty="0" smtClean="0">
                <a:solidFill>
                  <a:srgbClr val="FF0000"/>
                </a:solidFill>
              </a:rPr>
              <a:t>Választ-ható</a:t>
            </a:r>
            <a:endParaRPr lang="hu-HU" b="1" dirty="0">
              <a:solidFill>
                <a:srgbClr val="FF0000"/>
              </a:solidFill>
            </a:endParaRPr>
          </a:p>
        </p:txBody>
      </p:sp>
      <p:sp>
        <p:nvSpPr>
          <p:cNvPr id="32" name="Szövegdoboz 31"/>
          <p:cNvSpPr txBox="1"/>
          <p:nvPr/>
        </p:nvSpPr>
        <p:spPr>
          <a:xfrm>
            <a:off x="3916280" y="5541080"/>
            <a:ext cx="16964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b="1" dirty="0" smtClean="0">
                <a:solidFill>
                  <a:srgbClr val="FF0000"/>
                </a:solidFill>
              </a:rPr>
              <a:t>Azonos ágazati tartalom</a:t>
            </a:r>
            <a:endParaRPr lang="hu-HU" sz="1600" b="1" dirty="0">
              <a:solidFill>
                <a:srgbClr val="FF0000"/>
              </a:solidFill>
            </a:endParaRPr>
          </a:p>
        </p:txBody>
      </p:sp>
      <p:sp>
        <p:nvSpPr>
          <p:cNvPr id="22" name="Lekerekített téglalap 8"/>
          <p:cNvSpPr>
            <a:spLocks noChangeArrowheads="1"/>
          </p:cNvSpPr>
          <p:nvPr/>
        </p:nvSpPr>
        <p:spPr bwMode="auto">
          <a:xfrm>
            <a:off x="1463655" y="1128059"/>
            <a:ext cx="6380735" cy="4191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5400">
            <a:solidFill>
              <a:srgbClr val="622423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altLang="hu-HU" sz="2400" b="1" i="0" u="none" strike="noStrike" cap="none" normalizeH="0" baseline="0" dirty="0" smtClean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 szakgimnáziumi tananyagtartalom felépítése</a:t>
            </a:r>
            <a:endParaRPr kumimoji="0" lang="hu-HU" altLang="hu-HU" sz="2400" b="1" i="0" u="none" strike="noStrike" cap="none" normalizeH="0" baseline="0" dirty="0" smtClean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5930732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 animBg="1"/>
      <p:bldP spid="31" grpId="0"/>
      <p:bldP spid="32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1"/>
          <p:cNvSpPr txBox="1">
            <a:spLocks/>
          </p:cNvSpPr>
          <p:nvPr/>
        </p:nvSpPr>
        <p:spPr bwMode="auto">
          <a:xfrm>
            <a:off x="457200" y="1196975"/>
            <a:ext cx="8229600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hu-HU" altLang="hu-HU" sz="2800" b="1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H</a:t>
            </a:r>
            <a:r>
              <a:rPr lang="hu-HU" altLang="hu-HU" sz="28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atékonyabb intézményi struktúra lehetősége: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hu-HU" altLang="hu-HU" sz="2400" b="1" dirty="0" smtClean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hu-HU" altLang="hu-HU" sz="2400" b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a szakképzési centrumok </a:t>
            </a:r>
          </a:p>
        </p:txBody>
      </p:sp>
      <p:pic>
        <p:nvPicPr>
          <p:cNvPr id="5" name="Kép 4"/>
          <p:cNvPicPr/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3933056"/>
            <a:ext cx="8928992" cy="2448271"/>
          </a:xfrm>
          <a:prstGeom prst="rect">
            <a:avLst/>
          </a:prstGeom>
          <a:scene3d>
            <a:camera prst="orthographicFront">
              <a:rot lat="0" lon="10800000" rev="0"/>
            </a:camera>
            <a:lightRig rig="threePt" dir="t"/>
          </a:scene3d>
        </p:spPr>
      </p:pic>
      <p:sp>
        <p:nvSpPr>
          <p:cNvPr id="6" name="Felhő 5"/>
          <p:cNvSpPr/>
          <p:nvPr/>
        </p:nvSpPr>
        <p:spPr>
          <a:xfrm rot="-720000">
            <a:off x="8030775" y="3690626"/>
            <a:ext cx="335023" cy="696694"/>
          </a:xfrm>
          <a:prstGeom prst="cloud">
            <a:avLst/>
          </a:prstGeom>
          <a:scene3d>
            <a:camera prst="orthographicFront">
              <a:rot lat="0" lon="6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7" name="Felhő 6"/>
          <p:cNvSpPr/>
          <p:nvPr/>
        </p:nvSpPr>
        <p:spPr>
          <a:xfrm rot="17491450">
            <a:off x="7413297" y="3197192"/>
            <a:ext cx="439279" cy="568258"/>
          </a:xfrm>
          <a:prstGeom prst="cloud">
            <a:avLst/>
          </a:prstGeom>
          <a:scene3d>
            <a:camera prst="orthographicFront">
              <a:rot lat="0" lon="6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8" name="Felhő 7"/>
          <p:cNvSpPr/>
          <p:nvPr/>
        </p:nvSpPr>
        <p:spPr>
          <a:xfrm rot="15898111">
            <a:off x="6672938" y="3139898"/>
            <a:ext cx="396146" cy="568258"/>
          </a:xfrm>
          <a:prstGeom prst="cloud">
            <a:avLst/>
          </a:prstGeom>
          <a:scene3d>
            <a:camera prst="orthographicFront">
              <a:rot lat="0" lon="6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9" name="Felhő 8"/>
          <p:cNvSpPr/>
          <p:nvPr/>
        </p:nvSpPr>
        <p:spPr>
          <a:xfrm rot="15669597">
            <a:off x="5840862" y="2957807"/>
            <a:ext cx="396146" cy="568258"/>
          </a:xfrm>
          <a:prstGeom prst="cloud">
            <a:avLst/>
          </a:prstGeom>
          <a:scene3d>
            <a:camera prst="orthographicFront">
              <a:rot lat="0" lon="6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0" name="Folyamatábra: Befejezés 9"/>
          <p:cNvSpPr/>
          <p:nvPr/>
        </p:nvSpPr>
        <p:spPr>
          <a:xfrm>
            <a:off x="4449202" y="4676215"/>
            <a:ext cx="1451273" cy="144016"/>
          </a:xfrm>
          <a:prstGeom prst="flowChartTerminator">
            <a:avLst/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" name="Folyamatábra: Befejezés 10"/>
          <p:cNvSpPr/>
          <p:nvPr/>
        </p:nvSpPr>
        <p:spPr>
          <a:xfrm>
            <a:off x="4860032" y="4509120"/>
            <a:ext cx="720080" cy="144016"/>
          </a:xfrm>
          <a:prstGeom prst="flowChartTerminator">
            <a:avLst/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" name="Folyamatábra: Befejezés 11"/>
          <p:cNvSpPr/>
          <p:nvPr/>
        </p:nvSpPr>
        <p:spPr>
          <a:xfrm>
            <a:off x="2748823" y="4497671"/>
            <a:ext cx="720080" cy="144016"/>
          </a:xfrm>
          <a:prstGeom prst="flowChartTerminator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Folyamatábra: Befejezés 12"/>
          <p:cNvSpPr/>
          <p:nvPr/>
        </p:nvSpPr>
        <p:spPr>
          <a:xfrm>
            <a:off x="666297" y="4532199"/>
            <a:ext cx="720080" cy="144016"/>
          </a:xfrm>
          <a:prstGeom prst="flowChartTerminator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4" name="Folyamatábra: Befejezés 13"/>
          <p:cNvSpPr/>
          <p:nvPr/>
        </p:nvSpPr>
        <p:spPr>
          <a:xfrm>
            <a:off x="2383227" y="4653136"/>
            <a:ext cx="1451273" cy="144016"/>
          </a:xfrm>
          <a:prstGeom prst="flowChartTerminator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5" name="Folyamatábra: Befejezés 14"/>
          <p:cNvSpPr/>
          <p:nvPr/>
        </p:nvSpPr>
        <p:spPr>
          <a:xfrm>
            <a:off x="300701" y="4653136"/>
            <a:ext cx="1451273" cy="144016"/>
          </a:xfrm>
          <a:prstGeom prst="flowChartTerminator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6" name="Lekerekített téglalap 15"/>
          <p:cNvSpPr/>
          <p:nvPr/>
        </p:nvSpPr>
        <p:spPr>
          <a:xfrm>
            <a:off x="6570605" y="5082721"/>
            <a:ext cx="2127308" cy="639318"/>
          </a:xfrm>
          <a:prstGeom prst="roundRect">
            <a:avLst/>
          </a:prstGeom>
          <a:solidFill>
            <a:schemeClr val="tx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b="1" dirty="0" smtClean="0">
                <a:solidFill>
                  <a:schemeClr val="bg1"/>
                </a:solidFill>
              </a:rPr>
              <a:t>Szakképzési</a:t>
            </a:r>
            <a:r>
              <a:rPr lang="hu-HU" b="1" dirty="0" smtClean="0">
                <a:solidFill>
                  <a:schemeClr val="tx1"/>
                </a:solidFill>
              </a:rPr>
              <a:t> </a:t>
            </a:r>
            <a:r>
              <a:rPr lang="hu-HU" b="1" dirty="0" smtClean="0">
                <a:solidFill>
                  <a:schemeClr val="bg1"/>
                </a:solidFill>
              </a:rPr>
              <a:t>centrumok</a:t>
            </a:r>
            <a:endParaRPr lang="hu-HU" b="1" dirty="0">
              <a:solidFill>
                <a:schemeClr val="bg1"/>
              </a:solidFill>
            </a:endParaRPr>
          </a:p>
        </p:txBody>
      </p:sp>
      <p:sp>
        <p:nvSpPr>
          <p:cNvPr id="17" name="Lekerekített téglalap 16"/>
          <p:cNvSpPr/>
          <p:nvPr/>
        </p:nvSpPr>
        <p:spPr>
          <a:xfrm>
            <a:off x="2411760" y="4987373"/>
            <a:ext cx="1502561" cy="769809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>
                <a:solidFill>
                  <a:schemeClr val="tx1"/>
                </a:solidFill>
              </a:rPr>
              <a:t>Működtetés</a:t>
            </a:r>
            <a:endParaRPr lang="hu-HU" dirty="0">
              <a:solidFill>
                <a:schemeClr val="tx1"/>
              </a:solidFill>
            </a:endParaRPr>
          </a:p>
        </p:txBody>
      </p:sp>
      <p:sp>
        <p:nvSpPr>
          <p:cNvPr id="18" name="Lekerekített téglalap 17"/>
          <p:cNvSpPr/>
          <p:nvPr/>
        </p:nvSpPr>
        <p:spPr>
          <a:xfrm>
            <a:off x="4449201" y="5065985"/>
            <a:ext cx="1589733" cy="672790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>
                <a:solidFill>
                  <a:schemeClr val="tx1"/>
                </a:solidFill>
              </a:rPr>
              <a:t>Duális képzés</a:t>
            </a:r>
            <a:endParaRPr lang="hu-HU" dirty="0">
              <a:solidFill>
                <a:schemeClr val="tx1"/>
              </a:solidFill>
            </a:endParaRPr>
          </a:p>
        </p:txBody>
      </p:sp>
      <p:sp>
        <p:nvSpPr>
          <p:cNvPr id="19" name="Lekerekített téglalap 18"/>
          <p:cNvSpPr/>
          <p:nvPr/>
        </p:nvSpPr>
        <p:spPr>
          <a:xfrm>
            <a:off x="251520" y="4997171"/>
            <a:ext cx="1500454" cy="747145"/>
          </a:xfrm>
          <a:prstGeom prst="round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>
                <a:solidFill>
                  <a:schemeClr val="tx1"/>
                </a:solidFill>
              </a:rPr>
              <a:t>Pályaválasztás</a:t>
            </a:r>
            <a:endParaRPr lang="hu-H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2453723"/>
      </p:ext>
    </p:extLst>
  </p:cSld>
  <p:clrMapOvr>
    <a:masterClrMapping/>
  </p:clrMapOvr>
  <p:transition spd="med">
    <p:wipe dir="d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467544" y="1556792"/>
            <a:ext cx="8219256" cy="4824536"/>
          </a:xfrm>
        </p:spPr>
        <p:txBody>
          <a:bodyPr>
            <a:normAutofit/>
          </a:bodyPr>
          <a:lstStyle/>
          <a:p>
            <a:pPr lvl="1"/>
            <a:endParaRPr lang="hu-HU" dirty="0" smtClean="0"/>
          </a:p>
          <a:p>
            <a:pPr marL="1028700" lvl="1" indent="-571500">
              <a:buAutoNum type="romanUcPeriod"/>
            </a:pPr>
            <a:r>
              <a:rPr lang="hu-HU" sz="2800" dirty="0" smtClean="0">
                <a:solidFill>
                  <a:schemeClr val="tx1"/>
                </a:solidFill>
              </a:rPr>
              <a:t>Területén a képzést összehangolja</a:t>
            </a:r>
          </a:p>
          <a:p>
            <a:pPr marL="1200150" lvl="2" indent="-342900"/>
            <a:r>
              <a:rPr lang="hu-HU" sz="2800" i="1" dirty="0" smtClean="0">
                <a:solidFill>
                  <a:srgbClr val="FF0000"/>
                </a:solidFill>
              </a:rPr>
              <a:t>Iskola-iskola : képzési szerkezetének az összehangolása</a:t>
            </a:r>
          </a:p>
          <a:p>
            <a:pPr marL="1200150" lvl="2" indent="-342900"/>
            <a:r>
              <a:rPr lang="hu-HU" sz="2800" i="1" dirty="0" smtClean="0">
                <a:solidFill>
                  <a:srgbClr val="FF0000"/>
                </a:solidFill>
              </a:rPr>
              <a:t>Iskola – gazdálkodók: képzési igénye </a:t>
            </a:r>
          </a:p>
          <a:p>
            <a:pPr marL="1028700" lvl="1" indent="-571500">
              <a:buAutoNum type="romanUcPeriod"/>
            </a:pPr>
            <a:r>
              <a:rPr lang="hu-HU" sz="2800" dirty="0" smtClean="0">
                <a:solidFill>
                  <a:schemeClr val="tx1"/>
                </a:solidFill>
              </a:rPr>
              <a:t>Iskolái munkáját támogatja</a:t>
            </a:r>
          </a:p>
          <a:p>
            <a:pPr marL="1028700" lvl="1" indent="-571500">
              <a:buAutoNum type="romanUcPeriod"/>
            </a:pPr>
            <a:r>
              <a:rPr lang="hu-HU" sz="2800" dirty="0" smtClean="0">
                <a:solidFill>
                  <a:schemeClr val="tx1"/>
                </a:solidFill>
              </a:rPr>
              <a:t>Működtetői-fenntartói feladatokat ellát</a:t>
            </a:r>
          </a:p>
          <a:p>
            <a:pPr marL="1028700" lvl="1" indent="-571500">
              <a:buAutoNum type="romanUcPeriod"/>
            </a:pPr>
            <a:r>
              <a:rPr lang="hu-HU" sz="2800" dirty="0" smtClean="0">
                <a:solidFill>
                  <a:schemeClr val="tx1"/>
                </a:solidFill>
              </a:rPr>
              <a:t>Összehangolt fejlesztést végez</a:t>
            </a:r>
          </a:p>
          <a:p>
            <a:pPr marL="1028700" lvl="1" indent="-571500">
              <a:buAutoNum type="romanUcPeriod"/>
            </a:pPr>
            <a:endParaRPr lang="hu-HU" dirty="0"/>
          </a:p>
          <a:p>
            <a:pPr marL="457200" lvl="1" indent="0">
              <a:buNone/>
            </a:pPr>
            <a:r>
              <a:rPr lang="hu-HU" dirty="0" smtClean="0"/>
              <a:t>			</a:t>
            </a:r>
            <a:endParaRPr lang="hu-HU" dirty="0"/>
          </a:p>
        </p:txBody>
      </p:sp>
      <p:sp>
        <p:nvSpPr>
          <p:cNvPr id="6" name="Cím 5"/>
          <p:cNvSpPr>
            <a:spLocks noGrp="1"/>
          </p:cNvSpPr>
          <p:nvPr>
            <p:ph type="title"/>
          </p:nvPr>
        </p:nvSpPr>
        <p:spPr>
          <a:xfrm>
            <a:off x="395536" y="836712"/>
            <a:ext cx="8229600" cy="990600"/>
          </a:xfrm>
        </p:spPr>
        <p:txBody>
          <a:bodyPr/>
          <a:lstStyle/>
          <a:p>
            <a:r>
              <a:rPr lang="hu-HU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Tankerület és Szakképzési Centrum feladatai:</a:t>
            </a:r>
            <a:endParaRPr lang="hu-HU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9496899"/>
      </p:ext>
    </p:extLst>
  </p:cSld>
  <p:clrMapOvr>
    <a:masterClrMapping/>
  </p:clrMapOvr>
  <p:transition spd="med">
    <p:wipe dir="d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Kép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9562" y="1928357"/>
            <a:ext cx="6816182" cy="4064479"/>
          </a:xfrm>
          <a:prstGeom prst="rect">
            <a:avLst/>
          </a:prstGeom>
        </p:spPr>
      </p:pic>
      <p:sp>
        <p:nvSpPr>
          <p:cNvPr id="20" name="Téglalap 19"/>
          <p:cNvSpPr/>
          <p:nvPr/>
        </p:nvSpPr>
        <p:spPr>
          <a:xfrm>
            <a:off x="0" y="0"/>
            <a:ext cx="9144000" cy="125878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800" b="1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I. INTÉZMÉNYRENDSZER FEJLESZTÉS</a:t>
            </a:r>
          </a:p>
          <a:p>
            <a:pPr algn="ctr"/>
            <a:endParaRPr lang="hu-HU" dirty="0"/>
          </a:p>
        </p:txBody>
      </p:sp>
      <p:sp>
        <p:nvSpPr>
          <p:cNvPr id="2" name="Szövegdoboz 1"/>
          <p:cNvSpPr txBox="1"/>
          <p:nvPr/>
        </p:nvSpPr>
        <p:spPr>
          <a:xfrm>
            <a:off x="1339562" y="980728"/>
            <a:ext cx="2088232" cy="646331"/>
          </a:xfrm>
          <a:prstGeom prst="rect">
            <a:avLst/>
          </a:prstGeom>
          <a:solidFill>
            <a:schemeClr val="bg2"/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sz="3600" b="1" dirty="0" smtClean="0">
                <a:solidFill>
                  <a:schemeClr val="accent4">
                    <a:lumMod val="50000"/>
                  </a:schemeClr>
                </a:solidFill>
              </a:rPr>
              <a:t>EFOP</a:t>
            </a:r>
            <a:endParaRPr lang="hu-HU" sz="3600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5" name="Szövegdoboz 4"/>
          <p:cNvSpPr txBox="1"/>
          <p:nvPr/>
        </p:nvSpPr>
        <p:spPr>
          <a:xfrm>
            <a:off x="3819877" y="980725"/>
            <a:ext cx="2088232" cy="646331"/>
          </a:xfrm>
          <a:prstGeom prst="rect">
            <a:avLst/>
          </a:prstGeom>
          <a:solidFill>
            <a:srgbClr val="FFC000"/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sz="3600" b="1" dirty="0" smtClean="0">
                <a:solidFill>
                  <a:schemeClr val="accent4">
                    <a:lumMod val="50000"/>
                  </a:schemeClr>
                </a:solidFill>
              </a:rPr>
              <a:t>GINOP</a:t>
            </a:r>
            <a:endParaRPr lang="hu-HU" sz="3600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6" name="Szövegdoboz 5"/>
          <p:cNvSpPr txBox="1"/>
          <p:nvPr/>
        </p:nvSpPr>
        <p:spPr>
          <a:xfrm>
            <a:off x="6300192" y="980726"/>
            <a:ext cx="2088232" cy="646331"/>
          </a:xfrm>
          <a:prstGeom prst="rect">
            <a:avLst/>
          </a:prstGeom>
          <a:solidFill>
            <a:schemeClr val="bg2"/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sz="3600" b="1" dirty="0" smtClean="0">
                <a:solidFill>
                  <a:schemeClr val="accent4">
                    <a:lumMod val="50000"/>
                  </a:schemeClr>
                </a:solidFill>
              </a:rPr>
              <a:t>KEHOP</a:t>
            </a:r>
            <a:endParaRPr lang="hu-HU" sz="3600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3" name="Szövegdoboz 2"/>
          <p:cNvSpPr txBox="1"/>
          <p:nvPr/>
        </p:nvSpPr>
        <p:spPr>
          <a:xfrm>
            <a:off x="2843808" y="2116611"/>
            <a:ext cx="2672942" cy="369332"/>
          </a:xfrm>
          <a:prstGeom prst="rect">
            <a:avLst/>
          </a:prstGeom>
          <a:solidFill>
            <a:srgbClr val="BFD4E3"/>
          </a:solidFill>
        </p:spPr>
        <p:txBody>
          <a:bodyPr wrap="square" rtlCol="0">
            <a:spAutoFit/>
          </a:bodyPr>
          <a:lstStyle/>
          <a:p>
            <a:pPr algn="ctr"/>
            <a:r>
              <a:rPr lang="hu-HU" b="1" i="1" dirty="0" smtClean="0">
                <a:solidFill>
                  <a:srgbClr val="FF0000"/>
                </a:solidFill>
              </a:rPr>
              <a:t>KRÉTA</a:t>
            </a:r>
            <a:endParaRPr lang="hu-HU" b="1" i="1" dirty="0">
              <a:solidFill>
                <a:srgbClr val="FF0000"/>
              </a:solidFill>
            </a:endParaRPr>
          </a:p>
        </p:txBody>
      </p:sp>
      <p:sp>
        <p:nvSpPr>
          <p:cNvPr id="4" name="Szövegdoboz 3"/>
          <p:cNvSpPr txBox="1"/>
          <p:nvPr/>
        </p:nvSpPr>
        <p:spPr>
          <a:xfrm>
            <a:off x="3427794" y="3068960"/>
            <a:ext cx="2872398" cy="432048"/>
          </a:xfrm>
          <a:prstGeom prst="rect">
            <a:avLst/>
          </a:prstGeom>
          <a:noFill/>
          <a:ln w="76200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endParaRPr lang="hu-HU" dirty="0"/>
          </a:p>
        </p:txBody>
      </p:sp>
      <p:sp>
        <p:nvSpPr>
          <p:cNvPr id="7" name="Szövegdoboz 6"/>
          <p:cNvSpPr txBox="1"/>
          <p:nvPr/>
        </p:nvSpPr>
        <p:spPr>
          <a:xfrm>
            <a:off x="6247292" y="3657320"/>
            <a:ext cx="648072" cy="369332"/>
          </a:xfrm>
          <a:prstGeom prst="rect">
            <a:avLst/>
          </a:prstGeom>
          <a:solidFill>
            <a:srgbClr val="BFD4E3"/>
          </a:solidFill>
        </p:spPr>
        <p:txBody>
          <a:bodyPr wrap="square" rtlCol="0">
            <a:spAutoFit/>
          </a:bodyPr>
          <a:lstStyle/>
          <a:p>
            <a:endParaRPr lang="hu-HU" dirty="0"/>
          </a:p>
        </p:txBody>
      </p:sp>
      <p:sp>
        <p:nvSpPr>
          <p:cNvPr id="8" name="Szövegdoboz 7"/>
          <p:cNvSpPr txBox="1"/>
          <p:nvPr/>
        </p:nvSpPr>
        <p:spPr>
          <a:xfrm>
            <a:off x="2383678" y="2647344"/>
            <a:ext cx="4564586" cy="369332"/>
          </a:xfrm>
          <a:prstGeom prst="rect">
            <a:avLst/>
          </a:prstGeom>
          <a:solidFill>
            <a:srgbClr val="BFD4E3"/>
          </a:solidFill>
        </p:spPr>
        <p:txBody>
          <a:bodyPr wrap="square" rtlCol="0">
            <a:spAutoFit/>
          </a:bodyPr>
          <a:lstStyle/>
          <a:p>
            <a:pPr algn="ctr"/>
            <a:r>
              <a:rPr lang="hu-HU" b="1" i="1" dirty="0" smtClean="0">
                <a:solidFill>
                  <a:srgbClr val="FF0000"/>
                </a:solidFill>
              </a:rPr>
              <a:t>Iskola, tanműhely felújítások</a:t>
            </a:r>
            <a:endParaRPr lang="hu-HU" b="1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1149088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ép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9652" y="2047803"/>
            <a:ext cx="7004057" cy="3981156"/>
          </a:xfrm>
          <a:prstGeom prst="rect">
            <a:avLst/>
          </a:prstGeom>
        </p:spPr>
      </p:pic>
      <p:sp>
        <p:nvSpPr>
          <p:cNvPr id="14" name="Téglalap 13"/>
          <p:cNvSpPr/>
          <p:nvPr/>
        </p:nvSpPr>
        <p:spPr>
          <a:xfrm>
            <a:off x="0" y="0"/>
            <a:ext cx="9144000" cy="125878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2" name="Szövegdoboz 31"/>
          <p:cNvSpPr txBox="1"/>
          <p:nvPr/>
        </p:nvSpPr>
        <p:spPr>
          <a:xfrm>
            <a:off x="2222019" y="213893"/>
            <a:ext cx="50193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2800" b="1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II. MÓDSZER FEJLESZTÉSE</a:t>
            </a:r>
          </a:p>
        </p:txBody>
      </p:sp>
      <p:sp>
        <p:nvSpPr>
          <p:cNvPr id="5" name="Szövegdoboz 4"/>
          <p:cNvSpPr txBox="1"/>
          <p:nvPr/>
        </p:nvSpPr>
        <p:spPr>
          <a:xfrm>
            <a:off x="2359013" y="980728"/>
            <a:ext cx="2088232" cy="646331"/>
          </a:xfrm>
          <a:prstGeom prst="rect">
            <a:avLst/>
          </a:prstGeom>
          <a:solidFill>
            <a:schemeClr val="bg2"/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sz="3600" b="1" dirty="0">
                <a:solidFill>
                  <a:schemeClr val="accent4">
                    <a:lumMod val="50000"/>
                  </a:schemeClr>
                </a:solidFill>
              </a:rPr>
              <a:t>EFOP</a:t>
            </a:r>
          </a:p>
        </p:txBody>
      </p:sp>
      <p:sp>
        <p:nvSpPr>
          <p:cNvPr id="6" name="Szövegdoboz 5"/>
          <p:cNvSpPr txBox="1"/>
          <p:nvPr/>
        </p:nvSpPr>
        <p:spPr>
          <a:xfrm>
            <a:off x="5220072" y="980728"/>
            <a:ext cx="2088232" cy="646331"/>
          </a:xfrm>
          <a:prstGeom prst="rect">
            <a:avLst/>
          </a:prstGeom>
          <a:solidFill>
            <a:srgbClr val="FFC000"/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sz="3600" b="1" dirty="0" smtClean="0">
                <a:solidFill>
                  <a:schemeClr val="accent4">
                    <a:lumMod val="50000"/>
                  </a:schemeClr>
                </a:solidFill>
              </a:rPr>
              <a:t>GINOP</a:t>
            </a:r>
            <a:endParaRPr lang="hu-HU" sz="3600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2" name="Szövegdoboz 1"/>
          <p:cNvSpPr txBox="1"/>
          <p:nvPr/>
        </p:nvSpPr>
        <p:spPr>
          <a:xfrm>
            <a:off x="1887364" y="2780928"/>
            <a:ext cx="5688632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hu-HU" i="1" dirty="0">
                <a:solidFill>
                  <a:srgbClr val="FF0000"/>
                </a:solidFill>
              </a:rPr>
              <a:t>Pályaorientációs fejlesztések</a:t>
            </a:r>
          </a:p>
        </p:txBody>
      </p:sp>
      <p:sp>
        <p:nvSpPr>
          <p:cNvPr id="7" name="Szövegdoboz 6"/>
          <p:cNvSpPr txBox="1"/>
          <p:nvPr/>
        </p:nvSpPr>
        <p:spPr>
          <a:xfrm>
            <a:off x="2267744" y="3323084"/>
            <a:ext cx="5791970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 fontAlgn="ctr"/>
            <a:r>
              <a:rPr lang="hu-HU" i="1" dirty="0">
                <a:solidFill>
                  <a:srgbClr val="FF0000"/>
                </a:solidFill>
              </a:rPr>
              <a:t>Duális szakképzés minőségének fejlesztése</a:t>
            </a:r>
          </a:p>
        </p:txBody>
      </p:sp>
      <p:sp>
        <p:nvSpPr>
          <p:cNvPr id="8" name="Szövegdoboz 7"/>
          <p:cNvSpPr txBox="1"/>
          <p:nvPr/>
        </p:nvSpPr>
        <p:spPr>
          <a:xfrm>
            <a:off x="1331640" y="2204864"/>
            <a:ext cx="5718597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hu-HU" i="1" dirty="0">
                <a:solidFill>
                  <a:srgbClr val="FF0000"/>
                </a:solidFill>
              </a:rPr>
              <a:t>D</a:t>
            </a:r>
            <a:r>
              <a:rPr lang="hu-HU" i="1" dirty="0" smtClean="0">
                <a:solidFill>
                  <a:srgbClr val="FF0000"/>
                </a:solidFill>
              </a:rPr>
              <a:t>igitális </a:t>
            </a:r>
            <a:r>
              <a:rPr lang="hu-HU" i="1" dirty="0">
                <a:solidFill>
                  <a:srgbClr val="FF0000"/>
                </a:solidFill>
              </a:rPr>
              <a:t>tananyag-fejlesztési módszertan kialakítása</a:t>
            </a:r>
          </a:p>
        </p:txBody>
      </p:sp>
    </p:spTree>
    <p:extLst>
      <p:ext uri="{BB962C8B-B14F-4D97-AF65-F5344CB8AC3E}">
        <p14:creationId xmlns:p14="http://schemas.microsoft.com/office/powerpoint/2010/main" val="1522331519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ép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8232" y="2063058"/>
            <a:ext cx="7059675" cy="4157460"/>
          </a:xfrm>
          <a:prstGeom prst="rect">
            <a:avLst/>
          </a:prstGeom>
        </p:spPr>
      </p:pic>
      <p:sp>
        <p:nvSpPr>
          <p:cNvPr id="12" name="Téglalap 11"/>
          <p:cNvSpPr/>
          <p:nvPr/>
        </p:nvSpPr>
        <p:spPr>
          <a:xfrm>
            <a:off x="0" y="0"/>
            <a:ext cx="9144000" cy="125878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3" name="Téglalap 22"/>
          <p:cNvSpPr/>
          <p:nvPr/>
        </p:nvSpPr>
        <p:spPr>
          <a:xfrm>
            <a:off x="1897454" y="213893"/>
            <a:ext cx="5145639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/>
            <a:r>
              <a:rPr lang="hu-HU" sz="2800" b="1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III. TARTALOM FEJLESZTÉS</a:t>
            </a:r>
          </a:p>
        </p:txBody>
      </p:sp>
      <p:sp>
        <p:nvSpPr>
          <p:cNvPr id="5" name="Szövegdoboz 4"/>
          <p:cNvSpPr txBox="1"/>
          <p:nvPr/>
        </p:nvSpPr>
        <p:spPr>
          <a:xfrm>
            <a:off x="1871700" y="980728"/>
            <a:ext cx="2088232" cy="646331"/>
          </a:xfrm>
          <a:prstGeom prst="rect">
            <a:avLst/>
          </a:prstGeom>
          <a:solidFill>
            <a:schemeClr val="bg2"/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sz="3600" b="1" dirty="0">
                <a:solidFill>
                  <a:schemeClr val="accent4">
                    <a:lumMod val="50000"/>
                  </a:schemeClr>
                </a:solidFill>
              </a:rPr>
              <a:t>EFOP</a:t>
            </a:r>
          </a:p>
        </p:txBody>
      </p:sp>
      <p:sp>
        <p:nvSpPr>
          <p:cNvPr id="6" name="Szövegdoboz 5"/>
          <p:cNvSpPr txBox="1"/>
          <p:nvPr/>
        </p:nvSpPr>
        <p:spPr>
          <a:xfrm>
            <a:off x="4932040" y="980728"/>
            <a:ext cx="2088232" cy="646331"/>
          </a:xfrm>
          <a:prstGeom prst="rect">
            <a:avLst/>
          </a:prstGeom>
          <a:solidFill>
            <a:srgbClr val="FFC000"/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sz="3600" b="1" dirty="0" smtClean="0">
                <a:solidFill>
                  <a:schemeClr val="accent4">
                    <a:lumMod val="50000"/>
                  </a:schemeClr>
                </a:solidFill>
              </a:rPr>
              <a:t>GINOP</a:t>
            </a:r>
            <a:endParaRPr lang="hu-HU" sz="3600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3" name="Szövegdoboz 2"/>
          <p:cNvSpPr txBox="1"/>
          <p:nvPr/>
        </p:nvSpPr>
        <p:spPr>
          <a:xfrm>
            <a:off x="1331640" y="2213516"/>
            <a:ext cx="5688632" cy="446276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 fontAlgn="ctr"/>
            <a:r>
              <a:rPr lang="hu-HU" i="1" dirty="0">
                <a:solidFill>
                  <a:srgbClr val="FF0000"/>
                </a:solidFill>
              </a:rPr>
              <a:t>Vizsgarendszer és </a:t>
            </a:r>
            <a:r>
              <a:rPr lang="hu-HU" i="1" dirty="0" err="1">
                <a:solidFill>
                  <a:srgbClr val="FF0000"/>
                </a:solidFill>
              </a:rPr>
              <a:t>validációs</a:t>
            </a:r>
            <a:r>
              <a:rPr lang="hu-HU" i="1" dirty="0">
                <a:solidFill>
                  <a:srgbClr val="FF0000"/>
                </a:solidFill>
              </a:rPr>
              <a:t> rendszer </a:t>
            </a:r>
            <a:r>
              <a:rPr lang="hu-HU" i="1" dirty="0" smtClean="0">
                <a:solidFill>
                  <a:srgbClr val="FF0000"/>
                </a:solidFill>
              </a:rPr>
              <a:t>fejlesztése</a:t>
            </a:r>
          </a:p>
          <a:p>
            <a:pPr algn="ctr" fontAlgn="ctr"/>
            <a:endParaRPr lang="hu-HU" sz="500" i="1" dirty="0">
              <a:solidFill>
                <a:srgbClr val="FF0000"/>
              </a:solidFill>
            </a:endParaRPr>
          </a:p>
        </p:txBody>
      </p:sp>
      <p:sp>
        <p:nvSpPr>
          <p:cNvPr id="4" name="Szövegdoboz 3"/>
          <p:cNvSpPr txBox="1"/>
          <p:nvPr/>
        </p:nvSpPr>
        <p:spPr>
          <a:xfrm>
            <a:off x="1842778" y="2780928"/>
            <a:ext cx="5690735" cy="461665"/>
          </a:xfrm>
          <a:prstGeom prst="rect">
            <a:avLst/>
          </a:prstGeom>
          <a:noFill/>
          <a:ln w="76200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endParaRPr lang="hu-HU" sz="2400" dirty="0"/>
          </a:p>
        </p:txBody>
      </p:sp>
      <p:sp>
        <p:nvSpPr>
          <p:cNvPr id="9" name="Szövegdoboz 8"/>
          <p:cNvSpPr txBox="1"/>
          <p:nvPr/>
        </p:nvSpPr>
        <p:spPr>
          <a:xfrm>
            <a:off x="2267744" y="3389217"/>
            <a:ext cx="5760640" cy="461665"/>
          </a:xfrm>
          <a:prstGeom prst="rect">
            <a:avLst/>
          </a:prstGeom>
          <a:noFill/>
          <a:ln w="76200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endParaRPr lang="hu-HU" sz="2400" dirty="0"/>
          </a:p>
        </p:txBody>
      </p:sp>
    </p:spTree>
    <p:extLst>
      <p:ext uri="{BB962C8B-B14F-4D97-AF65-F5344CB8AC3E}">
        <p14:creationId xmlns:p14="http://schemas.microsoft.com/office/powerpoint/2010/main" val="1818312117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Kép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9562" y="1928357"/>
            <a:ext cx="6816182" cy="4064479"/>
          </a:xfrm>
          <a:prstGeom prst="rect">
            <a:avLst/>
          </a:prstGeom>
        </p:spPr>
      </p:pic>
      <p:sp>
        <p:nvSpPr>
          <p:cNvPr id="20" name="Téglalap 19"/>
          <p:cNvSpPr/>
          <p:nvPr/>
        </p:nvSpPr>
        <p:spPr>
          <a:xfrm>
            <a:off x="0" y="0"/>
            <a:ext cx="9144000" cy="125878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800" b="1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IV. </a:t>
            </a:r>
            <a:r>
              <a:rPr lang="hu-HU" sz="28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FELNŐTTKÉPZÉS</a:t>
            </a:r>
            <a:endParaRPr lang="hu-HU" sz="2800" b="1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5" name="Szövegdoboz 4"/>
          <p:cNvSpPr txBox="1"/>
          <p:nvPr/>
        </p:nvSpPr>
        <p:spPr>
          <a:xfrm>
            <a:off x="3703537" y="980727"/>
            <a:ext cx="2088232" cy="646331"/>
          </a:xfrm>
          <a:prstGeom prst="rect">
            <a:avLst/>
          </a:prstGeom>
          <a:solidFill>
            <a:srgbClr val="FFC000"/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sz="3600" b="1" dirty="0" smtClean="0">
                <a:solidFill>
                  <a:schemeClr val="accent4">
                    <a:lumMod val="50000"/>
                  </a:schemeClr>
                </a:solidFill>
              </a:rPr>
              <a:t>GINOP</a:t>
            </a:r>
            <a:endParaRPr lang="hu-HU" sz="3600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3" name="Szövegdoboz 2"/>
          <p:cNvSpPr txBox="1"/>
          <p:nvPr/>
        </p:nvSpPr>
        <p:spPr>
          <a:xfrm>
            <a:off x="1475656" y="2081203"/>
            <a:ext cx="5040560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hu-HU" i="1" dirty="0" smtClean="0">
                <a:solidFill>
                  <a:srgbClr val="FF0000"/>
                </a:solidFill>
              </a:rPr>
              <a:t>Alacsony képzettségűek képzése</a:t>
            </a:r>
            <a:endParaRPr lang="hu-HU" i="1" dirty="0">
              <a:solidFill>
                <a:srgbClr val="FF0000"/>
              </a:solidFill>
            </a:endParaRPr>
          </a:p>
        </p:txBody>
      </p:sp>
      <p:sp>
        <p:nvSpPr>
          <p:cNvPr id="4" name="Szövegdoboz 3"/>
          <p:cNvSpPr txBox="1"/>
          <p:nvPr/>
        </p:nvSpPr>
        <p:spPr>
          <a:xfrm>
            <a:off x="2339752" y="3123201"/>
            <a:ext cx="5256584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hu-HU" i="1" dirty="0" smtClean="0">
                <a:solidFill>
                  <a:srgbClr val="FF0000"/>
                </a:solidFill>
              </a:rPr>
              <a:t>Digitális szakadék csökkentése 16-65 év</a:t>
            </a:r>
            <a:endParaRPr lang="hu-HU" i="1" dirty="0">
              <a:solidFill>
                <a:srgbClr val="FF0000"/>
              </a:solidFill>
            </a:endParaRPr>
          </a:p>
        </p:txBody>
      </p:sp>
      <p:sp>
        <p:nvSpPr>
          <p:cNvPr id="7" name="Szövegdoboz 6"/>
          <p:cNvSpPr txBox="1"/>
          <p:nvPr/>
        </p:nvSpPr>
        <p:spPr>
          <a:xfrm>
            <a:off x="2699792" y="3643861"/>
            <a:ext cx="5328592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hu-HU" i="1" dirty="0" smtClean="0">
                <a:solidFill>
                  <a:srgbClr val="FF0000"/>
                </a:solidFill>
              </a:rPr>
              <a:t>Felnőttek kompetencia mérése PIAAC</a:t>
            </a:r>
            <a:endParaRPr lang="hu-HU" i="1" dirty="0">
              <a:solidFill>
                <a:srgbClr val="FF0000"/>
              </a:solidFill>
            </a:endParaRPr>
          </a:p>
        </p:txBody>
      </p:sp>
      <p:sp>
        <p:nvSpPr>
          <p:cNvPr id="8" name="Szövegdoboz 7"/>
          <p:cNvSpPr txBox="1"/>
          <p:nvPr/>
        </p:nvSpPr>
        <p:spPr>
          <a:xfrm>
            <a:off x="4499992" y="4725144"/>
            <a:ext cx="2304256" cy="461665"/>
          </a:xfrm>
          <a:prstGeom prst="rect">
            <a:avLst/>
          </a:prstGeom>
          <a:solidFill>
            <a:srgbClr val="D3F7DE"/>
          </a:solidFill>
        </p:spPr>
        <p:txBody>
          <a:bodyPr wrap="square" rtlCol="0">
            <a:spAutoFit/>
          </a:bodyPr>
          <a:lstStyle/>
          <a:p>
            <a:r>
              <a:rPr lang="hu-HU" sz="2400" dirty="0" smtClean="0"/>
              <a:t>Felnőttképzés</a:t>
            </a:r>
            <a:endParaRPr lang="hu-HU" sz="2400" dirty="0"/>
          </a:p>
        </p:txBody>
      </p:sp>
      <p:sp>
        <p:nvSpPr>
          <p:cNvPr id="9" name="Szövegdoboz 8"/>
          <p:cNvSpPr txBox="1"/>
          <p:nvPr/>
        </p:nvSpPr>
        <p:spPr>
          <a:xfrm>
            <a:off x="1835696" y="2636912"/>
            <a:ext cx="5328592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hu-HU" i="1" dirty="0" smtClean="0">
                <a:solidFill>
                  <a:srgbClr val="FF0000"/>
                </a:solidFill>
              </a:rPr>
              <a:t>Saját és külső </a:t>
            </a:r>
            <a:r>
              <a:rPr lang="hu-HU" i="1" dirty="0" smtClean="0">
                <a:solidFill>
                  <a:srgbClr val="FF0000"/>
                </a:solidFill>
              </a:rPr>
              <a:t>munkavállalók képzése</a:t>
            </a:r>
            <a:endParaRPr lang="hu-HU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1822675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3"/>
          <p:cNvSpPr txBox="1">
            <a:spLocks/>
          </p:cNvSpPr>
          <p:nvPr/>
        </p:nvSpPr>
        <p:spPr bwMode="auto">
          <a:xfrm>
            <a:off x="4427984" y="1340619"/>
            <a:ext cx="3888432" cy="1052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 fontScale="45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Bookman Old Style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Bookman Old Style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Bookman Old Style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Bookman Old Style" pitchFamily="18" charset="0"/>
              </a:defRPr>
            </a:lvl9pPr>
          </a:lstStyle>
          <a:p>
            <a:pPr algn="ctr">
              <a:defRPr sz="140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+mn-lt"/>
                <a:ea typeface="+mn-ea"/>
                <a:cs typeface="+mn-cs"/>
              </a:defRPr>
            </a:pPr>
            <a:r>
              <a:rPr lang="hu-HU" b="1" dirty="0" smtClean="0">
                <a:solidFill>
                  <a:srgbClr val="002060"/>
                </a:solidFill>
                <a:latin typeface="Calibri" panose="020F0502020204030204" pitchFamily="34" charset="0"/>
                <a:ea typeface="+mn-ea"/>
                <a:cs typeface="+mn-cs"/>
              </a:rPr>
              <a:t/>
            </a:r>
            <a:br>
              <a:rPr lang="hu-HU" b="1" dirty="0" smtClean="0">
                <a:solidFill>
                  <a:srgbClr val="002060"/>
                </a:solidFill>
                <a:latin typeface="Calibri" panose="020F0502020204030204" pitchFamily="34" charset="0"/>
                <a:ea typeface="+mn-ea"/>
                <a:cs typeface="+mn-cs"/>
              </a:rPr>
            </a:br>
            <a:r>
              <a:rPr lang="hu-HU" sz="4800" b="1" dirty="0">
                <a:solidFill>
                  <a:srgbClr val="A69765"/>
                </a:solidFill>
                <a:latin typeface="Times New Roman" pitchFamily="18" charset="0"/>
                <a:cs typeface="Times New Roman" pitchFamily="18" charset="0"/>
              </a:rPr>
              <a:t>A 15-74 éves munkanélküliek számának és munkanélküliségi rátájának alakulása</a:t>
            </a:r>
            <a:endParaRPr lang="hu-HU" sz="3700" b="1" dirty="0">
              <a:solidFill>
                <a:srgbClr val="A69765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Diagram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40997309"/>
              </p:ext>
            </p:extLst>
          </p:nvPr>
        </p:nvGraphicFramePr>
        <p:xfrm>
          <a:off x="107504" y="1066800"/>
          <a:ext cx="8768099" cy="5674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Szövegdoboz 5"/>
          <p:cNvSpPr txBox="1"/>
          <p:nvPr/>
        </p:nvSpPr>
        <p:spPr>
          <a:xfrm>
            <a:off x="3169092" y="2142728"/>
            <a:ext cx="6767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400" b="1" dirty="0" smtClean="0">
                <a:solidFill>
                  <a:schemeClr val="accent2"/>
                </a:solidFill>
                <a:latin typeface="+mj-lt"/>
              </a:rPr>
              <a:t>11,0 %</a:t>
            </a:r>
            <a:endParaRPr lang="hu-HU" sz="1400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7" name="Szövegdoboz 6"/>
          <p:cNvSpPr txBox="1"/>
          <p:nvPr/>
        </p:nvSpPr>
        <p:spPr>
          <a:xfrm>
            <a:off x="3203848" y="1988840"/>
            <a:ext cx="8095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400" b="1" dirty="0" smtClean="0">
                <a:latin typeface="+mj-lt"/>
              </a:rPr>
              <a:t>473 ezer</a:t>
            </a:r>
            <a:endParaRPr lang="hu-HU" sz="14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19202241"/>
      </p:ext>
    </p:extLst>
  </p:cSld>
  <p:clrMapOvr>
    <a:masterClrMapping/>
  </p:clrMapOvr>
  <p:transition spd="med">
    <p:wipe dir="d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ép 1"/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1052736"/>
            <a:ext cx="9144000" cy="5805263"/>
          </a:xfrm>
          <a:prstGeom prst="rect">
            <a:avLst/>
          </a:prstGeom>
        </p:spPr>
      </p:pic>
      <p:sp>
        <p:nvSpPr>
          <p:cNvPr id="3" name="Szövegdoboz 2"/>
          <p:cNvSpPr txBox="1"/>
          <p:nvPr/>
        </p:nvSpPr>
        <p:spPr>
          <a:xfrm>
            <a:off x="2699792" y="260648"/>
            <a:ext cx="41044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3200" b="1" dirty="0" smtClean="0">
                <a:solidFill>
                  <a:schemeClr val="accent2">
                    <a:lumMod val="75000"/>
                  </a:schemeClr>
                </a:solidFill>
              </a:rPr>
              <a:t>KRÉTA</a:t>
            </a:r>
            <a:endParaRPr lang="hu-HU" sz="3200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3714644"/>
      </p:ext>
    </p:extLst>
  </p:cSld>
  <p:clrMapOvr>
    <a:masterClrMapping/>
  </p:clrMapOvr>
  <p:transition spd="med">
    <p:wipe dir="d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Font typeface="Arial" charset="0"/>
              <a:buNone/>
            </a:pPr>
            <a:endParaRPr lang="hu-HU" altLang="hu-HU" b="1" dirty="0" smtClean="0">
              <a:solidFill>
                <a:srgbClr val="A69765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Font typeface="Arial" charset="0"/>
              <a:buNone/>
            </a:pPr>
            <a:endParaRPr lang="hu-HU" altLang="hu-HU" b="1" dirty="0" smtClean="0">
              <a:solidFill>
                <a:srgbClr val="A69765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Font typeface="Arial" charset="0"/>
              <a:buNone/>
            </a:pPr>
            <a:endParaRPr lang="hu-HU" altLang="hu-HU" sz="2000" b="1" dirty="0" smtClean="0">
              <a:solidFill>
                <a:srgbClr val="A69765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Font typeface="Arial" charset="0"/>
              <a:buNone/>
            </a:pPr>
            <a:endParaRPr lang="hu-HU" altLang="hu-HU" sz="2000" b="1" dirty="0" smtClean="0">
              <a:solidFill>
                <a:srgbClr val="A69765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 algn="ctr">
              <a:buFont typeface="Arial" charset="0"/>
              <a:buNone/>
            </a:pPr>
            <a:endParaRPr lang="hu-HU" altLang="hu-HU" b="1" dirty="0" smtClean="0">
              <a:solidFill>
                <a:srgbClr val="A69765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 algn="ctr">
              <a:buFont typeface="Arial" charset="0"/>
              <a:buNone/>
            </a:pPr>
            <a:endParaRPr lang="hu-HU" altLang="hu-HU" b="1" dirty="0">
              <a:solidFill>
                <a:srgbClr val="A69765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 algn="ctr">
              <a:buFont typeface="Arial" charset="0"/>
              <a:buNone/>
            </a:pPr>
            <a:endParaRPr lang="hu-HU" altLang="hu-HU" b="1" dirty="0" smtClean="0">
              <a:solidFill>
                <a:srgbClr val="A69765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 algn="ctr">
              <a:buFont typeface="Arial" charset="0"/>
              <a:buNone/>
            </a:pPr>
            <a:r>
              <a:rPr lang="hu-HU" altLang="hu-HU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KÖSZÖNÖM </a:t>
            </a:r>
            <a:r>
              <a:rPr lang="hu-HU" altLang="hu-HU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MEGTISZTELŐ FIGYELMÜKET!</a:t>
            </a:r>
          </a:p>
        </p:txBody>
      </p:sp>
      <p:sp>
        <p:nvSpPr>
          <p:cNvPr id="3" name="Szövegdoboz 2"/>
          <p:cNvSpPr txBox="1"/>
          <p:nvPr/>
        </p:nvSpPr>
        <p:spPr>
          <a:xfrm rot="10800000" flipH="1" flipV="1">
            <a:off x="971600" y="1536468"/>
            <a:ext cx="7560841" cy="156966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hu-HU" sz="28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2800" b="1" i="1" dirty="0" smtClean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„</a:t>
            </a:r>
            <a:r>
              <a:rPr lang="hu-HU" sz="3200" b="1" i="1" dirty="0" smtClean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 </a:t>
            </a:r>
            <a:r>
              <a:rPr lang="hu-HU" sz="3200" b="1" i="1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árhoztassuk magunkat a múlt hibái miatt, fogadjuk el a felelősséget, amivel a jövőnek tartozunk.” (J. F. Kennedy)</a:t>
            </a:r>
            <a:endParaRPr lang="hu-HU" sz="3200" b="1" dirty="0">
              <a:solidFill>
                <a:schemeClr val="accent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7851865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1"/>
          <p:cNvSpPr>
            <a:spLocks noGrp="1"/>
          </p:cNvSpPr>
          <p:nvPr>
            <p:ph type="title"/>
          </p:nvPr>
        </p:nvSpPr>
        <p:spPr>
          <a:xfrm>
            <a:off x="323528" y="1196752"/>
            <a:ext cx="8229600" cy="990600"/>
          </a:xfrm>
        </p:spPr>
        <p:txBody>
          <a:bodyPr>
            <a:noAutofit/>
          </a:bodyPr>
          <a:lstStyle/>
          <a:p>
            <a:pPr algn="ctr"/>
            <a:r>
              <a:rPr lang="hu-HU" sz="2800" b="1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A 15-64 évesek foglalkoztatási rátája </a:t>
            </a:r>
            <a:br>
              <a:rPr lang="hu-HU" sz="2800" b="1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hu-HU" sz="2800" b="1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iskolai végzettség szerint,KSH</a:t>
            </a:r>
          </a:p>
        </p:txBody>
      </p:sp>
      <p:graphicFrame>
        <p:nvGraphicFramePr>
          <p:cNvPr id="5" name="Tartalom helye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58017602"/>
              </p:ext>
            </p:extLst>
          </p:nvPr>
        </p:nvGraphicFramePr>
        <p:xfrm>
          <a:off x="683568" y="2132856"/>
          <a:ext cx="7787208" cy="41373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82544060"/>
      </p:ext>
    </p:extLst>
  </p:cSld>
  <p:clrMapOvr>
    <a:masterClrMapping/>
  </p:clrMapOvr>
  <p:transition spd="med">
    <p:wipe dir="d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11560" y="836712"/>
            <a:ext cx="8229600" cy="990600"/>
          </a:xfrm>
        </p:spPr>
        <p:txBody>
          <a:bodyPr/>
          <a:lstStyle/>
          <a:p>
            <a:r>
              <a:rPr lang="hu-HU" sz="2800" b="1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anulói létszám alakulása a képzés típusa szerint - nappali rendszerű oktatás </a:t>
            </a:r>
            <a:endParaRPr lang="hu-HU" sz="2800" dirty="0">
              <a:solidFill>
                <a:schemeClr val="accent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Tartalom helye 3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2601448386"/>
              </p:ext>
            </p:extLst>
          </p:nvPr>
        </p:nvGraphicFramePr>
        <p:xfrm>
          <a:off x="323528" y="1898282"/>
          <a:ext cx="8229600" cy="4937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01847596"/>
      </p:ext>
    </p:extLst>
  </p:cSld>
  <p:clrMapOvr>
    <a:masterClrMapping/>
  </p:clrMapOvr>
  <p:transition spd="med">
    <p:wipe dir="d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0" indent="0">
              <a:buNone/>
            </a:pPr>
            <a:endParaRPr lang="hu-HU" dirty="0"/>
          </a:p>
        </p:txBody>
      </p:sp>
      <p:pic>
        <p:nvPicPr>
          <p:cNvPr id="4" name="Kép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528" y="1124744"/>
            <a:ext cx="8496944" cy="5478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762954"/>
      </p:ext>
    </p:extLst>
  </p:cSld>
  <p:clrMapOvr>
    <a:masterClrMapping/>
  </p:clrMapOvr>
  <p:transition spd="med">
    <p:wipe dir="d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730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2"/>
          <a:ext cx="1621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2" y="1622"/>
                        <a:ext cx="1621" cy="162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62128" cy="1620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3" name="5. Source"/>
          <p:cNvSpPr>
            <a:spLocks noChangeArrowheads="1"/>
          </p:cNvSpPr>
          <p:nvPr/>
        </p:nvSpPr>
        <p:spPr bwMode="gray">
          <a:xfrm>
            <a:off x="121596" y="6639232"/>
            <a:ext cx="7346004" cy="12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18472" indent="-618472" defTabSz="908383">
              <a:tabLst>
                <a:tab pos="639412" algn="l"/>
              </a:tabLst>
              <a:defRPr/>
            </a:pPr>
            <a:r>
              <a:rPr lang="hu-HU" sz="800" dirty="0">
                <a:solidFill>
                  <a:srgbClr val="808080"/>
                </a:solidFill>
                <a:latin typeface="Arial"/>
              </a:rPr>
              <a:t>FORRÁS</a:t>
            </a:r>
            <a:r>
              <a:rPr lang="en-US" sz="800" dirty="0">
                <a:solidFill>
                  <a:srgbClr val="808080"/>
                </a:solidFill>
                <a:latin typeface="Arial"/>
              </a:rPr>
              <a:t>: </a:t>
            </a:r>
            <a:r>
              <a:rPr lang="en-US" sz="800" dirty="0" err="1">
                <a:solidFill>
                  <a:srgbClr val="808080"/>
                </a:solidFill>
                <a:latin typeface="Arial"/>
              </a:rPr>
              <a:t>Dornmayr</a:t>
            </a:r>
            <a:r>
              <a:rPr lang="en-US" sz="800" dirty="0">
                <a:solidFill>
                  <a:srgbClr val="808080"/>
                </a:solidFill>
                <a:latin typeface="Arial"/>
              </a:rPr>
              <a:t>/ Nowak (2016): </a:t>
            </a:r>
            <a:r>
              <a:rPr lang="en-US" sz="800" dirty="0" err="1">
                <a:solidFill>
                  <a:srgbClr val="808080"/>
                </a:solidFill>
                <a:latin typeface="Arial"/>
              </a:rPr>
              <a:t>Lehrlingsausbildung</a:t>
            </a:r>
            <a:r>
              <a:rPr lang="en-US" sz="800" dirty="0">
                <a:solidFill>
                  <a:srgbClr val="808080"/>
                </a:solidFill>
                <a:latin typeface="Arial"/>
              </a:rPr>
              <a:t> </a:t>
            </a:r>
            <a:r>
              <a:rPr lang="en-US" sz="800" dirty="0" err="1">
                <a:solidFill>
                  <a:srgbClr val="808080"/>
                </a:solidFill>
                <a:latin typeface="Arial"/>
              </a:rPr>
              <a:t>im</a:t>
            </a:r>
            <a:r>
              <a:rPr lang="en-US" sz="800" dirty="0">
                <a:solidFill>
                  <a:srgbClr val="808080"/>
                </a:solidFill>
                <a:latin typeface="Arial"/>
              </a:rPr>
              <a:t> </a:t>
            </a:r>
            <a:r>
              <a:rPr lang="en-US" sz="800" dirty="0" err="1">
                <a:solidFill>
                  <a:srgbClr val="808080"/>
                </a:solidFill>
                <a:latin typeface="Arial"/>
              </a:rPr>
              <a:t>Überblick</a:t>
            </a:r>
            <a:r>
              <a:rPr lang="en-US" sz="800" dirty="0">
                <a:solidFill>
                  <a:srgbClr val="808080"/>
                </a:solidFill>
                <a:latin typeface="Arial"/>
              </a:rPr>
              <a:t> 2016 - </a:t>
            </a:r>
            <a:r>
              <a:rPr lang="en-US" sz="800" dirty="0" err="1">
                <a:solidFill>
                  <a:srgbClr val="808080"/>
                </a:solidFill>
                <a:latin typeface="Arial"/>
              </a:rPr>
              <a:t>Strukturdaten</a:t>
            </a:r>
            <a:r>
              <a:rPr lang="en-US" sz="800" dirty="0">
                <a:solidFill>
                  <a:srgbClr val="808080"/>
                </a:solidFill>
                <a:latin typeface="Arial"/>
              </a:rPr>
              <a:t>, Trends und </a:t>
            </a:r>
            <a:r>
              <a:rPr lang="en-US" sz="800" dirty="0" err="1">
                <a:solidFill>
                  <a:srgbClr val="808080"/>
                </a:solidFill>
                <a:latin typeface="Arial"/>
              </a:rPr>
              <a:t>Perspektiven</a:t>
            </a:r>
            <a:r>
              <a:rPr lang="en-US" sz="800" dirty="0">
                <a:solidFill>
                  <a:srgbClr val="808080"/>
                </a:solidFill>
                <a:latin typeface="Arial"/>
              </a:rPr>
              <a:t>, </a:t>
            </a:r>
            <a:r>
              <a:rPr lang="en-US" sz="800" dirty="0" err="1">
                <a:solidFill>
                  <a:srgbClr val="808080"/>
                </a:solidFill>
                <a:latin typeface="Arial"/>
              </a:rPr>
              <a:t>ibw-Forschungsbericht</a:t>
            </a:r>
            <a:r>
              <a:rPr lang="en-US" sz="800" dirty="0">
                <a:solidFill>
                  <a:srgbClr val="808080"/>
                </a:solidFill>
                <a:latin typeface="Arial"/>
              </a:rPr>
              <a:t> Nr. 188</a:t>
            </a:r>
          </a:p>
        </p:txBody>
      </p:sp>
      <p:graphicFrame>
        <p:nvGraphicFramePr>
          <p:cNvPr id="73733" name="Object 4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2683213" y="2098562"/>
          <a:ext cx="3876472" cy="38584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" name="Chart" r:id="rId17" imgW="3800498" imgH="3781500" progId="MSGraph.Chart.8">
                  <p:embed followColorScheme="full"/>
                </p:oleObj>
              </mc:Choice>
              <mc:Fallback>
                <p:oleObj name="Chart" r:id="rId17" imgW="3800498" imgH="378150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83213" y="2098562"/>
                        <a:ext cx="3876472" cy="385843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734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862848" y="3461410"/>
            <a:ext cx="1363493" cy="709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1pPr>
            <a:lvl2pPr marL="742950" indent="-28575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eaLnBrk="1" hangingPunct="1">
              <a:buClr>
                <a:srgbClr val="002960"/>
              </a:buClr>
              <a:buSzPct val="100000"/>
            </a:pPr>
            <a:r>
              <a:rPr lang="hu-HU" altLang="en-US"/>
              <a:t>Hagyományos</a:t>
            </a:r>
          </a:p>
          <a:p>
            <a:pPr eaLnBrk="1" hangingPunct="1">
              <a:buClr>
                <a:srgbClr val="002960"/>
              </a:buClr>
              <a:buSzPct val="100000"/>
            </a:pPr>
            <a:r>
              <a:rPr lang="hu-HU" altLang="en-US"/>
              <a:t> gimnáziumok</a:t>
            </a:r>
            <a:r>
              <a:rPr lang="en-US" altLang="en-US"/>
              <a:t/>
            </a:r>
            <a:br>
              <a:rPr lang="en-US" altLang="en-US"/>
            </a:br>
            <a:endParaRPr lang="en-US" altLang="hu-HU">
              <a:sym typeface="+mn-lt" charset="0"/>
            </a:endParaRPr>
          </a:p>
        </p:txBody>
      </p:sp>
      <p:sp>
        <p:nvSpPr>
          <p:cNvPr id="73735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814537" y="3921635"/>
            <a:ext cx="282102" cy="249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5801" tIns="0" rIns="25801" bIns="0" anchor="ctr"/>
          <a:lstStyle>
            <a:lvl1pPr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1pPr>
            <a:lvl2pPr marL="742950" indent="-28575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algn="ctr" eaLnBrk="1" hangingPunct="1">
              <a:buClr>
                <a:srgbClr val="002960"/>
              </a:buClr>
              <a:buSzPct val="100000"/>
            </a:pPr>
            <a:fld id="{242B429D-3A26-4D65-993C-ABB0467D1B59}" type="datetime'''''''2''''''''4'''''''''''''''''''">
              <a:rPr lang="en-US" altLang="en-US">
                <a:solidFill>
                  <a:srgbClr val="FFFFFF"/>
                </a:solidFill>
              </a:rPr>
              <a:pPr algn="ctr" eaLnBrk="1" hangingPunct="1">
                <a:buClr>
                  <a:srgbClr val="002960"/>
                </a:buClr>
                <a:buSzPct val="100000"/>
              </a:pPr>
              <a:t>24</a:t>
            </a:fld>
            <a:endParaRPr lang="en-US" altLang="hu-HU">
              <a:solidFill>
                <a:srgbClr val="FFFFFF"/>
              </a:solidFill>
              <a:sym typeface="+mn-lt" charset="0"/>
            </a:endParaRPr>
          </a:p>
        </p:txBody>
      </p:sp>
      <p:sp>
        <p:nvSpPr>
          <p:cNvPr id="73736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506493" y="2069393"/>
            <a:ext cx="1439694" cy="249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1pPr>
            <a:lvl2pPr marL="742950" indent="-28575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eaLnBrk="1" hangingPunct="1">
              <a:buClr>
                <a:srgbClr val="002960"/>
              </a:buClr>
              <a:buSzPct val="100000"/>
            </a:pPr>
            <a:r>
              <a:rPr lang="hu-HU" altLang="hu-HU">
                <a:sym typeface="+mn-lt" charset="0"/>
              </a:rPr>
              <a:t>Szakképző iskolák</a:t>
            </a:r>
            <a:endParaRPr lang="en-US" altLang="hu-HU">
              <a:sym typeface="+mn-lt" charset="0"/>
            </a:endParaRPr>
          </a:p>
        </p:txBody>
      </p:sp>
      <p:sp>
        <p:nvSpPr>
          <p:cNvPr id="73737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831078" y="2411320"/>
            <a:ext cx="282102" cy="249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5801" tIns="0" rIns="25801" bIns="0" anchor="ctr"/>
          <a:lstStyle>
            <a:lvl1pPr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1pPr>
            <a:lvl2pPr marL="742950" indent="-28575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algn="ctr" eaLnBrk="1" hangingPunct="1">
              <a:buClr>
                <a:srgbClr val="002960"/>
              </a:buClr>
              <a:buSzPct val="100000"/>
            </a:pPr>
            <a:fld id="{11EA395F-F5E7-48ED-8E6B-2A41E863E2C9}" type="datetime'''''''''''''''''''''''1''3'''''">
              <a:rPr lang="en-US" altLang="en-US"/>
              <a:pPr algn="ctr" eaLnBrk="1" hangingPunct="1">
                <a:buClr>
                  <a:srgbClr val="002960"/>
                </a:buClr>
                <a:buSzPct val="100000"/>
              </a:pPr>
              <a:t>13</a:t>
            </a:fld>
            <a:endParaRPr lang="en-US" altLang="hu-HU">
              <a:sym typeface="+mn-lt" charset="0"/>
            </a:endParaRPr>
          </a:p>
        </p:txBody>
      </p:sp>
      <p:sp>
        <p:nvSpPr>
          <p:cNvPr id="73738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350541" y="3054663"/>
            <a:ext cx="1763949" cy="249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1pPr>
            <a:lvl2pPr marL="742950" indent="-28575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eaLnBrk="1" hangingPunct="1">
              <a:buClr>
                <a:srgbClr val="002960"/>
              </a:buClr>
              <a:buSzPct val="100000"/>
            </a:pPr>
            <a:r>
              <a:rPr lang="hu-HU" altLang="hu-HU">
                <a:sym typeface="+mn-lt" charset="0"/>
              </a:rPr>
              <a:t>Duális szakképző intézmények </a:t>
            </a:r>
            <a:endParaRPr lang="en-US" altLang="hu-HU">
              <a:sym typeface="+mn-lt" charset="0"/>
            </a:endParaRPr>
          </a:p>
        </p:txBody>
      </p:sp>
      <p:sp>
        <p:nvSpPr>
          <p:cNvPr id="73739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982511" y="3211852"/>
            <a:ext cx="282102" cy="249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5801" tIns="0" rIns="25801" bIns="0" anchor="ctr"/>
          <a:lstStyle>
            <a:lvl1pPr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1pPr>
            <a:lvl2pPr marL="742950" indent="-28575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algn="ctr" eaLnBrk="1" hangingPunct="1">
              <a:buClr>
                <a:srgbClr val="002960"/>
              </a:buClr>
              <a:buSzPct val="100000"/>
            </a:pPr>
            <a:fld id="{F3D0DB11-9847-40B1-A1AF-6159241F0B1A}" type="datetime'''''''''''''''''3''''''''''''''''6'''''''''">
              <a:rPr lang="en-US" altLang="en-US">
                <a:solidFill>
                  <a:srgbClr val="FFFFFF"/>
                </a:solidFill>
              </a:rPr>
              <a:pPr algn="ctr" eaLnBrk="1" hangingPunct="1">
                <a:buClr>
                  <a:srgbClr val="002960"/>
                </a:buClr>
                <a:buSzPct val="100000"/>
              </a:pPr>
              <a:t>36</a:t>
            </a:fld>
            <a:endParaRPr lang="en-US" altLang="hu-HU">
              <a:solidFill>
                <a:srgbClr val="FFFFFF"/>
              </a:solidFill>
              <a:sym typeface="+mn-lt" charset="0"/>
            </a:endParaRPr>
          </a:p>
        </p:txBody>
      </p:sp>
      <p:sp>
        <p:nvSpPr>
          <p:cNvPr id="73740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083996" y="5824114"/>
            <a:ext cx="1898514" cy="643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1pPr>
            <a:lvl2pPr marL="742950" indent="-28575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eaLnBrk="1" hangingPunct="1">
              <a:buClr>
                <a:srgbClr val="002960"/>
              </a:buClr>
              <a:buSzPct val="100000"/>
            </a:pPr>
            <a:r>
              <a:rPr lang="hu-HU" altLang="en-US"/>
              <a:t>Felső szakképzési </a:t>
            </a:r>
          </a:p>
          <a:p>
            <a:pPr eaLnBrk="1" hangingPunct="1">
              <a:buClr>
                <a:srgbClr val="002960"/>
              </a:buClr>
              <a:buSzPct val="100000"/>
            </a:pPr>
            <a:r>
              <a:rPr lang="hu-HU" altLang="en-US"/>
              <a:t>intézmények</a:t>
            </a:r>
            <a:endParaRPr lang="en-US" altLang="hu-HU">
              <a:sym typeface="+mn-lt" charset="0"/>
            </a:endParaRPr>
          </a:p>
        </p:txBody>
      </p:sp>
      <p:sp>
        <p:nvSpPr>
          <p:cNvPr id="73741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542817" y="5574556"/>
            <a:ext cx="280481" cy="249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5801" tIns="0" rIns="25801" bIns="0" anchor="ctr"/>
          <a:lstStyle>
            <a:lvl1pPr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1pPr>
            <a:lvl2pPr marL="742950" indent="-28575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 defTabSz="895350"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algn="ctr" eaLnBrk="1" hangingPunct="1">
              <a:buClr>
                <a:srgbClr val="002960"/>
              </a:buClr>
              <a:buSzPct val="100000"/>
            </a:pPr>
            <a:fld id="{46ADB6DF-16DF-4E99-8524-D332464C3587}" type="datetime'''''''''2''''''''''''''''''''''7'''''''''''''''''''''''''''">
              <a:rPr lang="en-US" altLang="en-US">
                <a:solidFill>
                  <a:srgbClr val="FFFFFF"/>
                </a:solidFill>
              </a:rPr>
              <a:pPr algn="ctr" eaLnBrk="1" hangingPunct="1">
                <a:buClr>
                  <a:srgbClr val="002960"/>
                </a:buClr>
                <a:buSzPct val="100000"/>
              </a:pPr>
              <a:t>27</a:t>
            </a:fld>
            <a:endParaRPr lang="en-US" altLang="hu-HU">
              <a:solidFill>
                <a:srgbClr val="FFFFFF"/>
              </a:solidFill>
              <a:sym typeface="+mn-lt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806758" y="1602685"/>
            <a:ext cx="1530485" cy="25117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en-US" sz="1600" b="1" dirty="0">
                <a:solidFill>
                  <a:srgbClr val="002960"/>
                </a:solidFill>
              </a:rPr>
              <a:t>100% = 98,095 </a:t>
            </a:r>
          </a:p>
        </p:txBody>
      </p:sp>
      <p:sp>
        <p:nvSpPr>
          <p:cNvPr id="73744" name="Title 8"/>
          <p:cNvSpPr>
            <a:spLocks noGrp="1"/>
          </p:cNvSpPr>
          <p:nvPr>
            <p:ph type="title"/>
          </p:nvPr>
        </p:nvSpPr>
        <p:spPr>
          <a:xfrm>
            <a:off x="121597" y="391354"/>
            <a:ext cx="8793804" cy="1152994"/>
          </a:xfrm>
        </p:spPr>
        <p:txBody>
          <a:bodyPr lIns="463854"/>
          <a:lstStyle/>
          <a:p>
            <a:pPr algn="ctr" eaLnBrk="1" hangingPunct="1">
              <a:defRPr/>
            </a:pPr>
            <a:r>
              <a:rPr lang="hu-HU" altLang="hu-HU" sz="2800" b="1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A </a:t>
            </a:r>
            <a:r>
              <a:rPr lang="hu-HU" altLang="hu-HU" sz="28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tízedik </a:t>
            </a:r>
            <a:r>
              <a:rPr lang="hu-HU" altLang="hu-HU" sz="2800" b="1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osztályos diákok </a:t>
            </a:r>
            <a:r>
              <a:rPr lang="hu-HU" altLang="hu-HU" sz="2800" b="1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  <a:r>
              <a:rPr lang="hu-HU" altLang="hu-HU" sz="28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megoszlása </a:t>
            </a:r>
            <a:r>
              <a:rPr lang="hu-HU" altLang="hu-HU" sz="2800" b="1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oktatási formák szerint</a:t>
            </a:r>
            <a:r>
              <a:rPr lang="en-US" altLang="hu-HU" sz="2800" b="1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,</a:t>
            </a:r>
            <a:r>
              <a:rPr lang="hu-HU" altLang="hu-HU" sz="2800" b="1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t/>
            </a:r>
            <a:br>
              <a:rPr lang="hu-HU" altLang="hu-HU" sz="2800" b="1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ea typeface="+mn-ea"/>
                <a:cs typeface="Times New Roman" pitchFamily="18" charset="0"/>
              </a:rPr>
            </a:br>
            <a:r>
              <a:rPr lang="hu-HU" altLang="hu-HU" sz="2800" b="1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a </a:t>
            </a:r>
            <a:r>
              <a:rPr lang="en-US" altLang="hu-HU" sz="28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2014/15</a:t>
            </a:r>
            <a:r>
              <a:rPr lang="hu-HU" altLang="hu-HU" sz="28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. </a:t>
            </a:r>
            <a:r>
              <a:rPr lang="hu-HU" altLang="hu-HU" sz="28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tanév</a:t>
            </a:r>
            <a:endParaRPr lang="en-US" altLang="hu-HU" sz="2800" b="1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pic>
        <p:nvPicPr>
          <p:cNvPr id="73746" name="Picture 24"/>
          <p:cNvPicPr>
            <a:picLocks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2235" y="236595"/>
            <a:ext cx="308043" cy="3095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14"/>
          <p:cNvSpPr>
            <a:spLocks noChangeArrowheads="1"/>
          </p:cNvSpPr>
          <p:nvPr/>
        </p:nvSpPr>
        <p:spPr bwMode="gray">
          <a:xfrm>
            <a:off x="8471171" y="64820"/>
            <a:ext cx="471791" cy="1571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buClr>
                <a:srgbClr val="002960"/>
              </a:buClr>
              <a:defRPr/>
            </a:pPr>
            <a:r>
              <a:rPr lang="en-US" altLang="ko-KR" sz="1000" dirty="0" err="1">
                <a:solidFill>
                  <a:srgbClr val="000000"/>
                </a:solidFill>
                <a:ea typeface="굴림" pitchFamily="50" charset="-127"/>
              </a:rPr>
              <a:t>Aus</a:t>
            </a:r>
            <a:r>
              <a:rPr lang="hu-HU" altLang="ko-KR" sz="1000" dirty="0">
                <a:solidFill>
                  <a:srgbClr val="000000"/>
                </a:solidFill>
                <a:ea typeface="굴림" pitchFamily="50" charset="-127"/>
              </a:rPr>
              <a:t>z</a:t>
            </a:r>
            <a:r>
              <a:rPr lang="en-US" altLang="ko-KR" sz="1000" dirty="0" err="1">
                <a:solidFill>
                  <a:srgbClr val="000000"/>
                </a:solidFill>
                <a:ea typeface="굴림" pitchFamily="50" charset="-127"/>
              </a:rPr>
              <a:t>tria</a:t>
            </a:r>
            <a:endParaRPr lang="en-US" altLang="ko-KR" sz="1000" dirty="0">
              <a:solidFill>
                <a:srgbClr val="000000"/>
              </a:solidFill>
              <a:ea typeface="굴림" pitchFamily="50" charset="-127"/>
            </a:endParaRPr>
          </a:p>
        </p:txBody>
      </p:sp>
      <p:sp>
        <p:nvSpPr>
          <p:cNvPr id="31" name="Rectangle 30"/>
          <p:cNvSpPr>
            <a:spLocks/>
          </p:cNvSpPr>
          <p:nvPr/>
        </p:nvSpPr>
        <p:spPr>
          <a:xfrm>
            <a:off x="1697478" y="1544348"/>
            <a:ext cx="5749047" cy="4702721"/>
          </a:xfrm>
          <a:prstGeom prst="rect">
            <a:avLst/>
          </a:prstGeom>
          <a:noFill/>
          <a:ln w="19050" cmpd="sng">
            <a:solidFill>
              <a:schemeClr val="accent1"/>
            </a:solidFill>
          </a:ln>
        </p:spPr>
        <p:txBody>
          <a:bodyPr lIns="77289" tIns="77289" rIns="77289" bIns="77289"/>
          <a:lstStyle/>
          <a:p>
            <a:pPr defTabSz="908383">
              <a:buClr>
                <a:srgbClr val="002960"/>
              </a:buClr>
              <a:buSzPct val="100000"/>
              <a:defRPr/>
            </a:pPr>
            <a:endParaRPr lang="en-US" sz="100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0188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1"/>
          <p:cNvSpPr>
            <a:spLocks noGrp="1"/>
          </p:cNvSpPr>
          <p:nvPr>
            <p:ph type="title"/>
          </p:nvPr>
        </p:nvSpPr>
        <p:spPr>
          <a:xfrm>
            <a:off x="0" y="1052513"/>
            <a:ext cx="9229725" cy="576262"/>
          </a:xfrm>
        </p:spPr>
        <p:txBody>
          <a:bodyPr/>
          <a:lstStyle/>
          <a:p>
            <a:pPr algn="ctr" eaLnBrk="1" hangingPunct="1">
              <a:defRPr/>
            </a:pPr>
            <a:r>
              <a:rPr lang="hu-HU" sz="28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Hazai szakképzés a XXI. században: új kihívások   </a:t>
            </a:r>
            <a:endParaRPr lang="hu-HU" sz="2800" b="1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pic>
        <p:nvPicPr>
          <p:cNvPr id="5" name="Kép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7313" y="2670175"/>
            <a:ext cx="3168650" cy="208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Ellipszis 5"/>
          <p:cNvSpPr/>
          <p:nvPr/>
        </p:nvSpPr>
        <p:spPr>
          <a:xfrm rot="21139935">
            <a:off x="304800" y="2047875"/>
            <a:ext cx="2908300" cy="129063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23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par 4.0</a:t>
            </a:r>
          </a:p>
        </p:txBody>
      </p:sp>
      <p:sp>
        <p:nvSpPr>
          <p:cNvPr id="7" name="Ellipszis 6"/>
          <p:cNvSpPr/>
          <p:nvPr/>
        </p:nvSpPr>
        <p:spPr>
          <a:xfrm rot="-480000">
            <a:off x="418965" y="4542190"/>
            <a:ext cx="3697288" cy="168275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23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Növekvő kereslet és szakemberhiány</a:t>
            </a:r>
          </a:p>
        </p:txBody>
      </p:sp>
      <p:sp>
        <p:nvSpPr>
          <p:cNvPr id="8" name="Ellipszis 7"/>
          <p:cNvSpPr/>
          <p:nvPr/>
        </p:nvSpPr>
        <p:spPr>
          <a:xfrm rot="530979">
            <a:off x="5605461" y="2919910"/>
            <a:ext cx="3281362" cy="1476375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23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rinyi Terv</a:t>
            </a:r>
          </a:p>
        </p:txBody>
      </p:sp>
      <p:sp>
        <p:nvSpPr>
          <p:cNvPr id="9" name="Ellipszis 8"/>
          <p:cNvSpPr/>
          <p:nvPr/>
        </p:nvSpPr>
        <p:spPr>
          <a:xfrm rot="350976">
            <a:off x="4698345" y="4617639"/>
            <a:ext cx="3281362" cy="1476375"/>
          </a:xfrm>
          <a:prstGeom prst="ellipse">
            <a:avLst/>
          </a:prstGeom>
          <a:solidFill>
            <a:schemeClr val="bg2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23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DO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23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DES</a:t>
            </a:r>
            <a:endParaRPr lang="hu-HU" sz="23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8691449"/>
      </p:ext>
    </p:extLst>
  </p:cSld>
  <p:clrMapOvr>
    <a:masterClrMapping/>
  </p:clrMapOvr>
  <p:transition spd="med">
    <p:wipe dir="d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1"/>
          <p:cNvSpPr>
            <a:spLocks noGrp="1"/>
          </p:cNvSpPr>
          <p:nvPr>
            <p:ph type="title"/>
          </p:nvPr>
        </p:nvSpPr>
        <p:spPr>
          <a:xfrm>
            <a:off x="591590" y="1181465"/>
            <a:ext cx="8229600" cy="432048"/>
          </a:xfrm>
        </p:spPr>
        <p:txBody>
          <a:bodyPr/>
          <a:lstStyle/>
          <a:p>
            <a:pPr algn="ctr"/>
            <a:r>
              <a:rPr lang="hu-HU" sz="2800" b="1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Irinyi Terv</a:t>
            </a:r>
          </a:p>
        </p:txBody>
      </p:sp>
      <p:sp>
        <p:nvSpPr>
          <p:cNvPr id="5" name="Szövegdoboz 4"/>
          <p:cNvSpPr txBox="1"/>
          <p:nvPr/>
        </p:nvSpPr>
        <p:spPr>
          <a:xfrm>
            <a:off x="395536" y="1618803"/>
            <a:ext cx="8640960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itchFamily="18" charset="0"/>
              </a:rPr>
              <a:t>Magyar újraiparosítási stratégia  </a:t>
            </a:r>
            <a:r>
              <a:rPr lang="hu-HU" sz="2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itchFamily="18" charset="0"/>
              </a:rPr>
              <a:t>- célkitűzések a gazdaság fellendítésé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itchFamily="18" charset="0"/>
              </a:rPr>
              <a:t>Fejlesztendő területek: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hu-HU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itchFamily="18" charset="0"/>
              </a:rPr>
              <a:t>Járműipar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hu-HU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itchFamily="18" charset="0"/>
              </a:rPr>
              <a:t>Specializált gép- és járműgyártá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hu-HU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itchFamily="18" charset="0"/>
              </a:rPr>
              <a:t>„Egészséggazdaság” – Turizmu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hu-HU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itchFamily="18" charset="0"/>
              </a:rPr>
              <a:t>„Zöldgazdaság”</a:t>
            </a:r>
            <a:r>
              <a:rPr lang="hu-HU" sz="200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itchFamily="18" charset="0"/>
              </a:rPr>
              <a:t>-fejlesztés</a:t>
            </a:r>
            <a:endParaRPr lang="hu-HU" sz="2000" dirty="0">
              <a:solidFill>
                <a:prstClr val="black"/>
              </a:solidFill>
              <a:latin typeface="Times New Roman" panose="02020603050405020304" pitchFamily="18" charset="0"/>
              <a:cs typeface="Times New Roman" pitchFamily="18" charset="0"/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hu-HU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itchFamily="18" charset="0"/>
              </a:rPr>
              <a:t>IKT szektor – SSC (</a:t>
            </a:r>
            <a:r>
              <a:rPr lang="hu-HU" sz="200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itchFamily="18" charset="0"/>
              </a:rPr>
              <a:t>Shared</a:t>
            </a:r>
            <a:r>
              <a:rPr lang="hu-HU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itchFamily="18" charset="0"/>
              </a:rPr>
              <a:t> Service Center)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hu-HU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itchFamily="18" charset="0"/>
              </a:rPr>
              <a:t>Védelmi ipar </a:t>
            </a:r>
            <a:r>
              <a:rPr lang="hu-HU" sz="2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itchFamily="18" charset="0"/>
              </a:rPr>
              <a:t> </a:t>
            </a:r>
            <a:endParaRPr lang="hu-HU" sz="2000" dirty="0">
              <a:solidFill>
                <a:prstClr val="black"/>
              </a:solidFill>
              <a:latin typeface="Times New Roman" panose="02020603050405020304" pitchFamily="18" charset="0"/>
              <a:cs typeface="Times New Roman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itchFamily="18" charset="0"/>
              </a:rPr>
              <a:t>Versenyképes ágazatok, erős szakképzés és felsőoktatás, belső piac erősítése, a helyi megtermelt érték nemzetgazdaságban tartása </a:t>
            </a:r>
          </a:p>
        </p:txBody>
      </p:sp>
      <p:pic>
        <p:nvPicPr>
          <p:cNvPr id="6" name="Kép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9453" y="5228347"/>
            <a:ext cx="2127504" cy="109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978884"/>
      </p:ext>
    </p:extLst>
  </p:cSld>
  <p:clrMapOvr>
    <a:masterClrMapping/>
  </p:clrMapOvr>
  <p:transition spd="med">
    <p:wipe dir="d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Gb0kXmTIuFz58dn2NR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wFz..XRPmj85JSaZttX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KhYGTnT_KVwuEta77G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pC.oeyShKTTVy0tN2Q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fbF8FMTxqwbvO4lkg03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Ou2e9yQpmMDypBmP.8H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8lY8FYQ9aQ6_b4oEYxs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fdRPabRMSs5WzTYCidJ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a5MguBQxWLrWMCiXnnX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7wB9Y.QbuHis_yRBh1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rigó">
  <a:themeElements>
    <a:clrScheme name="Origó">
      <a:dk1>
        <a:sysClr val="windowText" lastClr="000000"/>
      </a:dk1>
      <a:lt1>
        <a:sysClr val="window" lastClr="FFFFFF"/>
      </a:lt1>
      <a:dk2>
        <a:srgbClr val="464653"/>
      </a:dk2>
      <a:lt2>
        <a:srgbClr val="DDE9EC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B292CA"/>
      </a:hlink>
      <a:folHlink>
        <a:srgbClr val="6B5680"/>
      </a:folHlink>
    </a:clrScheme>
    <a:fontScheme name="Klasszikus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rigó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atMod val="22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6000"/>
                <a:satMod val="120000"/>
              </a:schemeClr>
              <a:schemeClr val="phClr">
                <a:tint val="90000"/>
              </a:schemeClr>
            </a:duotone>
          </a:blip>
          <a:tile tx="0" ty="0" sx="35000" sy="40000" flip="x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rigó">
    <a:dk1>
      <a:sysClr val="windowText" lastClr="000000"/>
    </a:dk1>
    <a:lt1>
      <a:sysClr val="window" lastClr="FFFFFF"/>
    </a:lt1>
    <a:dk2>
      <a:srgbClr val="464653"/>
    </a:dk2>
    <a:lt2>
      <a:srgbClr val="DDE9EC"/>
    </a:lt2>
    <a:accent1>
      <a:srgbClr val="727CA3"/>
    </a:accent1>
    <a:accent2>
      <a:srgbClr val="9FB8CD"/>
    </a:accent2>
    <a:accent3>
      <a:srgbClr val="D2DA7A"/>
    </a:accent3>
    <a:accent4>
      <a:srgbClr val="FADA7A"/>
    </a:accent4>
    <a:accent5>
      <a:srgbClr val="B88472"/>
    </a:accent5>
    <a:accent6>
      <a:srgbClr val="8E736A"/>
    </a:accent6>
    <a:hlink>
      <a:srgbClr val="B292CA"/>
    </a:hlink>
    <a:folHlink>
      <a:srgbClr val="6B5680"/>
    </a:folHlink>
  </a:clrScheme>
</a:themeOverride>
</file>

<file path=ppt/theme/themeOverride2.xml><?xml version="1.0" encoding="utf-8"?>
<a:themeOverride xmlns:a="http://schemas.openxmlformats.org/drawingml/2006/main">
  <a:clrScheme name="Origó">
    <a:dk1>
      <a:sysClr val="windowText" lastClr="000000"/>
    </a:dk1>
    <a:lt1>
      <a:sysClr val="window" lastClr="FFFFFF"/>
    </a:lt1>
    <a:dk2>
      <a:srgbClr val="464653"/>
    </a:dk2>
    <a:lt2>
      <a:srgbClr val="DDE9EC"/>
    </a:lt2>
    <a:accent1>
      <a:srgbClr val="727CA3"/>
    </a:accent1>
    <a:accent2>
      <a:srgbClr val="9FB8CD"/>
    </a:accent2>
    <a:accent3>
      <a:srgbClr val="D2DA7A"/>
    </a:accent3>
    <a:accent4>
      <a:srgbClr val="FADA7A"/>
    </a:accent4>
    <a:accent5>
      <a:srgbClr val="B88472"/>
    </a:accent5>
    <a:accent6>
      <a:srgbClr val="8E736A"/>
    </a:accent6>
    <a:hlink>
      <a:srgbClr val="B292CA"/>
    </a:hlink>
    <a:folHlink>
      <a:srgbClr val="6B56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004</TotalTime>
  <Words>1856</Words>
  <Application>Microsoft Office PowerPoint</Application>
  <PresentationFormat>Diavetítés a képernyőre (4:3 oldalarány)</PresentationFormat>
  <Paragraphs>318</Paragraphs>
  <Slides>31</Slides>
  <Notes>12</Notes>
  <HiddenSlides>0</HiddenSlides>
  <MMClips>0</MMClips>
  <ScaleCrop>false</ScaleCrop>
  <HeadingPairs>
    <vt:vector size="6" baseType="variant">
      <vt:variant>
        <vt:lpstr>Téma</vt:lpstr>
      </vt:variant>
      <vt:variant>
        <vt:i4>2</vt:i4>
      </vt:variant>
      <vt:variant>
        <vt:lpstr>Beágyazott OLE kiszolgálók</vt:lpstr>
      </vt:variant>
      <vt:variant>
        <vt:i4>2</vt:i4>
      </vt:variant>
      <vt:variant>
        <vt:lpstr>Diacímek</vt:lpstr>
      </vt:variant>
      <vt:variant>
        <vt:i4>31</vt:i4>
      </vt:variant>
    </vt:vector>
  </HeadingPairs>
  <TitlesOfParts>
    <vt:vector size="35" baseType="lpstr">
      <vt:lpstr>Office Theme</vt:lpstr>
      <vt:lpstr>2_Origó</vt:lpstr>
      <vt:lpstr>think-cell Slide</vt:lpstr>
      <vt:lpstr>Chart</vt:lpstr>
      <vt:lpstr> A szakképzés aktualitásai, tervek a jövőre</vt:lpstr>
      <vt:lpstr>PowerPoint bemutató</vt:lpstr>
      <vt:lpstr>PowerPoint bemutató</vt:lpstr>
      <vt:lpstr>A 15-64 évesek foglalkoztatási rátája  iskolai végzettség szerint,KSH</vt:lpstr>
      <vt:lpstr>Tanulói létszám alakulása a képzés típusa szerint - nappali rendszerű oktatás </vt:lpstr>
      <vt:lpstr>PowerPoint bemutató</vt:lpstr>
      <vt:lpstr>A tízedik osztályos diákok  megoszlása oktatási formák szerint, a 2014/15. tanév</vt:lpstr>
      <vt:lpstr>Hazai szakképzés a XXI. században: új kihívások   </vt:lpstr>
      <vt:lpstr>Irinyi Terv</vt:lpstr>
      <vt:lpstr>PowerPoint bemutató</vt:lpstr>
      <vt:lpstr>Milyen és mennyire fontos készségeket várnak el a munkáltatók? </vt:lpstr>
      <vt:lpstr>A versenyképes tudás megszerzése: kitörési pontok </vt:lpstr>
      <vt:lpstr>Válaszok a gazdasági kihívásokra:  </vt:lpstr>
      <vt:lpstr>Válaszok a gazdasági kihívásokra:  </vt:lpstr>
      <vt:lpstr>OKJ változás</vt:lpstr>
      <vt:lpstr>OKJ változása nem elégíti ki az ipar elvárását</vt:lpstr>
      <vt:lpstr>A szakképzésbe történő belépési lehetőségek bővítése</vt:lpstr>
      <vt:lpstr>          Az ingyenes második szakma hatása:  Felnőttoktatási  adatok: 2016 ősz-2017 tavasz    </vt:lpstr>
      <vt:lpstr>Hídprogram</vt:lpstr>
      <vt:lpstr>PowerPoint bemutató</vt:lpstr>
      <vt:lpstr>PowerPoint bemutató</vt:lpstr>
      <vt:lpstr>PowerPoint bemutató</vt:lpstr>
      <vt:lpstr>PowerPoint bemutató</vt:lpstr>
      <vt:lpstr>PowerPoint bemutató</vt:lpstr>
      <vt:lpstr>Tankerület és Szakképzési Centrum feladatai: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</vt:vector>
  </TitlesOfParts>
  <Company>K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megyei jogú városok munkaerőpiaci igényei és a szakképzési rendszer összehangolása</dc:title>
  <dc:creator>Damjanovics-Baán Fruzsina</dc:creator>
  <cp:lastModifiedBy>Pölöskei Gáborné</cp:lastModifiedBy>
  <cp:revision>262</cp:revision>
  <cp:lastPrinted>2017-04-03T07:40:14Z</cp:lastPrinted>
  <dcterms:created xsi:type="dcterms:W3CDTF">2016-11-03T15:20:00Z</dcterms:created>
  <dcterms:modified xsi:type="dcterms:W3CDTF">2017-06-28T21:35:54Z</dcterms:modified>
</cp:coreProperties>
</file>